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5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heme/theme6.xml" ContentType="application/vnd.openxmlformats-officedocument.them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4" r:id="rId5"/>
    <p:sldMasterId id="2147483732" r:id="rId6"/>
    <p:sldMasterId id="2147483757" r:id="rId7"/>
    <p:sldMasterId id="2147483779" r:id="rId8"/>
  </p:sldMasterIdLst>
  <p:notesMasterIdLst>
    <p:notesMasterId r:id="rId11"/>
  </p:notesMasterIdLst>
  <p:sldIdLst>
    <p:sldId id="2141410995" r:id="rId9"/>
    <p:sldId id="2147475512" r:id="rId10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F7DEB"/>
    <a:srgbClr val="7823DC"/>
    <a:srgbClr val="F5F5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>
      <p:cViewPr varScale="1">
        <p:scale>
          <a:sx n="67" d="100"/>
          <a:sy n="67" d="100"/>
        </p:scale>
        <p:origin x="572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862"/>
    </p:cViewPr>
  </p:sorterViewPr>
  <p:notesViewPr>
    <p:cSldViewPr snapToGrid="0">
      <p:cViewPr>
        <p:scale>
          <a:sx n="66" d="100"/>
          <a:sy n="66" d="100"/>
        </p:scale>
        <p:origin x="0" y="0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tags" Target="tags/tag1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slide" Target="slides/slide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einitzer, Benjamin" userId="80bc0be0-047a-4b43-b7aa-41bd0f7888f7" providerId="ADAL" clId="{0864D3E7-6953-466F-B0B6-F1434B7C69D3}"/>
    <pc:docChg chg="modSld">
      <pc:chgData name="Reinitzer, Benjamin" userId="80bc0be0-047a-4b43-b7aa-41bd0f7888f7" providerId="ADAL" clId="{0864D3E7-6953-466F-B0B6-F1434B7C69D3}" dt="2025-02-04T16:19:39.860" v="89" actId="6549"/>
      <pc:docMkLst>
        <pc:docMk/>
      </pc:docMkLst>
      <pc:sldChg chg="modSp mod">
        <pc:chgData name="Reinitzer, Benjamin" userId="80bc0be0-047a-4b43-b7aa-41bd0f7888f7" providerId="ADAL" clId="{0864D3E7-6953-466F-B0B6-F1434B7C69D3}" dt="2025-02-04T16:19:39.860" v="89" actId="6549"/>
        <pc:sldMkLst>
          <pc:docMk/>
          <pc:sldMk cId="820256392" sldId="2141410995"/>
        </pc:sldMkLst>
        <pc:spChg chg="mod">
          <ac:chgData name="Reinitzer, Benjamin" userId="80bc0be0-047a-4b43-b7aa-41bd0f7888f7" providerId="ADAL" clId="{0864D3E7-6953-466F-B0B6-F1434B7C69D3}" dt="2025-02-04T16:19:39.860" v="89" actId="6549"/>
          <ac:spMkLst>
            <pc:docMk/>
            <pc:sldMk cId="820256392" sldId="2141410995"/>
            <ac:spMk id="7" creationId="{D2EA5B77-E0DF-4CB2-9C22-2ED3D4EAEF2A}"/>
          </ac:spMkLst>
        </pc:spChg>
        <pc:spChg chg="mod">
          <ac:chgData name="Reinitzer, Benjamin" userId="80bc0be0-047a-4b43-b7aa-41bd0f7888f7" providerId="ADAL" clId="{0864D3E7-6953-466F-B0B6-F1434B7C69D3}" dt="2025-02-04T16:19:14.829" v="55" actId="6549"/>
          <ac:spMkLst>
            <pc:docMk/>
            <pc:sldMk cId="820256392" sldId="2141410995"/>
            <ac:spMk id="9" creationId="{3CC67439-1730-43BE-BB9D-750C3C393D04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3ED38A-34C3-4AF2-BB80-BE82199C3B11}" type="datetimeFigureOut">
              <a:rPr lang="en-US" smtClean="0"/>
              <a:t>2/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9E16D-2A10-4EBD-85D8-0CA0197C3B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24601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A7104B-D97C-45D8-9153-098645228A2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4175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1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openxmlformats.org/officeDocument/2006/relationships/hyperlink" Target="https://youtube.com/KearneyOfficial" TargetMode="External"/><Relationship Id="rId3" Type="http://schemas.openxmlformats.org/officeDocument/2006/relationships/slideMaster" Target="../slideMasters/slideMaster5.xml"/><Relationship Id="rId7" Type="http://schemas.openxmlformats.org/officeDocument/2006/relationships/hyperlink" Target="https://www.linkedin.com/company/kearney" TargetMode="External"/><Relationship Id="rId12" Type="http://schemas.openxmlformats.org/officeDocument/2006/relationships/image" Target="../media/image4.png"/><Relationship Id="rId2" Type="http://schemas.openxmlformats.org/officeDocument/2006/relationships/tags" Target="../tags/tag61.xml"/><Relationship Id="rId16" Type="http://schemas.openxmlformats.org/officeDocument/2006/relationships/image" Target="../media/image6.png"/><Relationship Id="rId1" Type="http://schemas.openxmlformats.org/officeDocument/2006/relationships/tags" Target="../tags/tag60.xml"/><Relationship Id="rId6" Type="http://schemas.openxmlformats.org/officeDocument/2006/relationships/image" Target="../media/image15.emf"/><Relationship Id="rId11" Type="http://schemas.openxmlformats.org/officeDocument/2006/relationships/hyperlink" Target="https://twitter.com/Kearney" TargetMode="External"/><Relationship Id="rId5" Type="http://schemas.openxmlformats.org/officeDocument/2006/relationships/image" Target="../media/image1.emf"/><Relationship Id="rId15" Type="http://schemas.openxmlformats.org/officeDocument/2006/relationships/hyperlink" Target="https://www.facebook.com/Kearney/" TargetMode="External"/><Relationship Id="rId10" Type="http://schemas.openxmlformats.org/officeDocument/2006/relationships/image" Target="../media/image3.png"/><Relationship Id="rId4" Type="http://schemas.openxmlformats.org/officeDocument/2006/relationships/oleObject" Target="../embeddings/oleObject40.bin"/><Relationship Id="rId9" Type="http://schemas.openxmlformats.org/officeDocument/2006/relationships/hyperlink" Target="https://www.instagram.com/kearneyofficial/" TargetMode="External"/><Relationship Id="rId14" Type="http://schemas.openxmlformats.org/officeDocument/2006/relationships/image" Target="../media/image5.pn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2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16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42.bin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hyperlink" Target="https://youtube.com/Kearney" TargetMode="External"/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hyperlink" Target="https://www.linkedin.com/company/kearney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twitter.com/Kearney" TargetMode="External"/><Relationship Id="rId11" Type="http://schemas.openxmlformats.org/officeDocument/2006/relationships/image" Target="../media/image6.png"/><Relationship Id="rId5" Type="http://schemas.openxmlformats.org/officeDocument/2006/relationships/image" Target="../media/image3.png"/><Relationship Id="rId10" Type="http://schemas.openxmlformats.org/officeDocument/2006/relationships/hyperlink" Target="https://www.facebook.com/Kearney/" TargetMode="External"/><Relationship Id="rId4" Type="http://schemas.openxmlformats.org/officeDocument/2006/relationships/hyperlink" Target="https://www.instagram.com/kearneyofficial/" TargetMode="External"/><Relationship Id="rId9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hyperlink" Target="https://youtube.com/Kearney" TargetMode="External"/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hyperlink" Target="https://www.linkedin.com/company/kearney" TargetMode="External"/><Relationship Id="rId1" Type="http://schemas.openxmlformats.org/officeDocument/2006/relationships/slideMaster" Target="../slideMasters/slideMaster2.xml"/><Relationship Id="rId6" Type="http://schemas.openxmlformats.org/officeDocument/2006/relationships/hyperlink" Target="https://twitter.com/Kearney" TargetMode="External"/><Relationship Id="rId11" Type="http://schemas.openxmlformats.org/officeDocument/2006/relationships/image" Target="../media/image6.png"/><Relationship Id="rId5" Type="http://schemas.openxmlformats.org/officeDocument/2006/relationships/image" Target="../media/image3.png"/><Relationship Id="rId10" Type="http://schemas.openxmlformats.org/officeDocument/2006/relationships/hyperlink" Target="https://www.facebook.com/Kearney/" TargetMode="External"/><Relationship Id="rId4" Type="http://schemas.openxmlformats.org/officeDocument/2006/relationships/hyperlink" Target="https://www.instagram.com/kearneyofficial/" TargetMode="External"/><Relationship Id="rId9" Type="http://schemas.openxmlformats.org/officeDocument/2006/relationships/image" Target="../media/image5.pn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hyperlink" Target="https://youtube.com/Kearney" TargetMode="External"/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hyperlink" Target="https://www.linkedin.com/company/kearney" TargetMode="External"/><Relationship Id="rId1" Type="http://schemas.openxmlformats.org/officeDocument/2006/relationships/slideMaster" Target="../slideMasters/slideMaster3.xml"/><Relationship Id="rId6" Type="http://schemas.openxmlformats.org/officeDocument/2006/relationships/hyperlink" Target="https://twitter.com/Kearney" TargetMode="External"/><Relationship Id="rId11" Type="http://schemas.openxmlformats.org/officeDocument/2006/relationships/image" Target="../media/image6.png"/><Relationship Id="rId5" Type="http://schemas.openxmlformats.org/officeDocument/2006/relationships/image" Target="../media/image3.png"/><Relationship Id="rId10" Type="http://schemas.openxmlformats.org/officeDocument/2006/relationships/hyperlink" Target="https://www.facebook.com/Kearney/" TargetMode="External"/><Relationship Id="rId4" Type="http://schemas.openxmlformats.org/officeDocument/2006/relationships/hyperlink" Target="https://www.instagram.com/kearneyofficial/" TargetMode="External"/><Relationship Id="rId9" Type="http://schemas.openxmlformats.org/officeDocument/2006/relationships/image" Target="../media/image5.png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.xml"/><Relationship Id="rId4" Type="http://schemas.openxmlformats.org/officeDocument/2006/relationships/image" Target="../media/image9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.xml"/><Relationship Id="rId4" Type="http://schemas.openxmlformats.org/officeDocument/2006/relationships/image" Target="../media/image9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.xml"/><Relationship Id="rId4" Type="http://schemas.openxmlformats.org/officeDocument/2006/relationships/image" Target="../media/image9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4.xml"/><Relationship Id="rId4" Type="http://schemas.openxmlformats.org/officeDocument/2006/relationships/image" Target="../media/image9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.xml"/><Relationship Id="rId4" Type="http://schemas.openxmlformats.org/officeDocument/2006/relationships/image" Target="../media/image9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6.xml"/><Relationship Id="rId4" Type="http://schemas.openxmlformats.org/officeDocument/2006/relationships/image" Target="../media/image9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7.xml"/><Relationship Id="rId4" Type="http://schemas.openxmlformats.org/officeDocument/2006/relationships/image" Target="../media/image9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8.xml"/><Relationship Id="rId4" Type="http://schemas.openxmlformats.org/officeDocument/2006/relationships/image" Target="../media/image9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9.xml"/><Relationship Id="rId4" Type="http://schemas.openxmlformats.org/officeDocument/2006/relationships/image" Target="../media/image9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0.xml"/><Relationship Id="rId4" Type="http://schemas.openxmlformats.org/officeDocument/2006/relationships/image" Target="../media/image9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1.xml"/><Relationship Id="rId4" Type="http://schemas.openxmlformats.org/officeDocument/2006/relationships/image" Target="../media/image9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2.xml"/><Relationship Id="rId4" Type="http://schemas.openxmlformats.org/officeDocument/2006/relationships/image" Target="../media/image9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3.xml"/><Relationship Id="rId4" Type="http://schemas.openxmlformats.org/officeDocument/2006/relationships/image" Target="../media/image9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4.xml"/><Relationship Id="rId4" Type="http://schemas.openxmlformats.org/officeDocument/2006/relationships/image" Target="../media/image9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hyperlink" Target="https://www.facebook.com/Kearney/" TargetMode="External"/><Relationship Id="rId3" Type="http://schemas.openxmlformats.org/officeDocument/2006/relationships/oleObject" Target="../embeddings/oleObject27.bin"/><Relationship Id="rId7" Type="http://schemas.openxmlformats.org/officeDocument/2006/relationships/hyperlink" Target="https://www.instagram.com/kearneyofficial/" TargetMode="External"/><Relationship Id="rId12" Type="http://schemas.openxmlformats.org/officeDocument/2006/relationships/image" Target="../media/image1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6.xml"/><Relationship Id="rId6" Type="http://schemas.openxmlformats.org/officeDocument/2006/relationships/image" Target="../media/image10.png"/><Relationship Id="rId11" Type="http://schemas.openxmlformats.org/officeDocument/2006/relationships/hyperlink" Target="https://youtube.com/Kearney" TargetMode="External"/><Relationship Id="rId5" Type="http://schemas.openxmlformats.org/officeDocument/2006/relationships/hyperlink" Target="https://www.linkedin.com/company/kearney" TargetMode="External"/><Relationship Id="rId10" Type="http://schemas.openxmlformats.org/officeDocument/2006/relationships/image" Target="../media/image12.png"/><Relationship Id="rId4" Type="http://schemas.openxmlformats.org/officeDocument/2006/relationships/image" Target="../media/image9.emf"/><Relationship Id="rId9" Type="http://schemas.openxmlformats.org/officeDocument/2006/relationships/hyperlink" Target="https://twitter.com/Kearney" TargetMode="External"/><Relationship Id="rId14" Type="http://schemas.openxmlformats.org/officeDocument/2006/relationships/image" Target="../media/image14.pn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7.xml"/><Relationship Id="rId4" Type="http://schemas.openxmlformats.org/officeDocument/2006/relationships/image" Target="../media/image9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AD4FE1-9E37-084D-B5CD-5C8B5F3169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0"/>
            <a:ext cx="5334000" cy="1518442"/>
          </a:xfrm>
        </p:spPr>
        <p:txBody>
          <a:bodyPr lIns="0" rIns="0" anchor="t">
            <a:noAutofit/>
          </a:bodyPr>
          <a:lstStyle>
            <a:lvl1pPr algn="l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/>
            </a:lvl1pPr>
          </a:lstStyle>
          <a:p>
            <a:r>
              <a:rPr lang="en-GB"/>
              <a:t>What are you here </a:t>
            </a:r>
            <a:br>
              <a:rPr lang="en-GB"/>
            </a:br>
            <a:r>
              <a:rPr lang="en-GB"/>
              <a:t>to say? Set the tone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8B117B-053B-D74C-BAD6-ABB3754D81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2667000"/>
            <a:ext cx="5334000" cy="1143000"/>
          </a:xfrm>
        </p:spPr>
        <p:txBody>
          <a:bodyPr lIns="0" rIns="0"/>
          <a:lstStyle>
            <a:lvl1pPr marL="0" indent="9525" algn="l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sz="2000" b="1"/>
            </a:lvl1pPr>
            <a:lvl2pPr marL="0" marR="0" indent="9525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defRPr sz="2000"/>
            </a:lvl2pPr>
            <a:lvl3pPr marL="0" indent="0" algn="l">
              <a:spcBef>
                <a:spcPct val="0"/>
              </a:spcBef>
              <a:spcAft>
                <a:spcPct val="0"/>
              </a:spcAft>
              <a:buNone/>
              <a:defRPr sz="1800"/>
            </a:lvl3pPr>
            <a:lvl4pPr marL="0" indent="9525" algn="l">
              <a:spcBef>
                <a:spcPct val="0"/>
              </a:spcBef>
              <a:spcAft>
                <a:spcPct val="0"/>
              </a:spcAft>
              <a:buNone/>
              <a:defRPr sz="1800"/>
            </a:lvl4pPr>
            <a:lvl5pPr marL="0" indent="-1819275" algn="l">
              <a:spcAft>
                <a:spcPct val="0"/>
              </a:spcAft>
              <a:buNone/>
              <a:defRPr sz="1600"/>
            </a:lvl5pPr>
            <a:lvl6pPr marL="0" indent="0" algn="l">
              <a:spcBef>
                <a:spcPct val="0"/>
              </a:spcBef>
              <a:spcAft>
                <a:spcPct val="0"/>
              </a:spcAft>
              <a:buNone/>
              <a:defRPr sz="18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/>
              <a:t>Add supporting detail</a:t>
            </a:r>
          </a:p>
          <a:p>
            <a:pPr lvl="1"/>
            <a:r>
              <a:rPr lang="en-GB"/>
              <a:t>Date</a:t>
            </a:r>
          </a:p>
        </p:txBody>
      </p:sp>
      <p:grpSp>
        <p:nvGrpSpPr>
          <p:cNvPr id="7" name="Graphic 19">
            <a:extLst>
              <a:ext uri="{FF2B5EF4-FFF2-40B4-BE49-F238E27FC236}">
                <a16:creationId xmlns:a16="http://schemas.microsoft.com/office/drawing/2014/main" id="{CFAC16B0-F4A7-F543-918F-33686B72247A}"/>
              </a:ext>
            </a:extLst>
          </p:cNvPr>
          <p:cNvGrpSpPr/>
          <p:nvPr userDrawn="1"/>
        </p:nvGrpSpPr>
        <p:grpSpPr>
          <a:xfrm>
            <a:off x="381000" y="6250079"/>
            <a:ext cx="1901823" cy="223746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BC16B120-E914-4346-836A-D2EE39F39E8D}"/>
                </a:ext>
              </a:extLst>
            </p:cNvPr>
            <p:cNvSpPr/>
            <p:nvPr/>
          </p:nvSpPr>
          <p:spPr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D87A3A-326D-9340-9F69-A97A7A06294C}"/>
                </a:ext>
              </a:extLst>
            </p:cNvPr>
            <p:cNvSpPr/>
            <p:nvPr/>
          </p:nvSpPr>
          <p:spPr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832AA57B-83BA-2244-849F-D6B0F8C0D10A}"/>
                </a:ext>
              </a:extLst>
            </p:cNvPr>
            <p:cNvSpPr/>
            <p:nvPr/>
          </p:nvSpPr>
          <p:spPr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296E0F56-C15D-674F-82EC-61F7B1492288}"/>
                </a:ext>
              </a:extLst>
            </p:cNvPr>
            <p:cNvSpPr/>
            <p:nvPr/>
          </p:nvSpPr>
          <p:spPr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9CFA5212-33F7-9C47-A438-BABBB8B9B3A0}"/>
                </a:ext>
              </a:extLst>
            </p:cNvPr>
            <p:cNvSpPr/>
            <p:nvPr/>
          </p:nvSpPr>
          <p:spPr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F45CE236-8278-CC45-B4BB-6302999FC65C}"/>
                </a:ext>
              </a:extLst>
            </p:cNvPr>
            <p:cNvSpPr/>
            <p:nvPr/>
          </p:nvSpPr>
          <p:spPr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1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DAFDB6AE-4ADA-5545-9E6D-0ADCA24EE7E4}"/>
                </a:ext>
              </a:extLst>
            </p:cNvPr>
            <p:cNvSpPr/>
            <p:nvPr/>
          </p:nvSpPr>
          <p:spPr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5" name="Picture Placeholder 33">
            <a:extLst>
              <a:ext uri="{FF2B5EF4-FFF2-40B4-BE49-F238E27FC236}">
                <a16:creationId xmlns:a16="http://schemas.microsoft.com/office/drawing/2014/main" id="{1D5CCC86-3F10-B647-A528-00A82173898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02350" y="0"/>
            <a:ext cx="6089650" cy="6858000"/>
          </a:xfrm>
          <a:custGeom>
            <a:avLst/>
            <a:gdLst>
              <a:gd name="connsiteX0" fmla="*/ 0 w 6089650"/>
              <a:gd name="connsiteY0" fmla="*/ 0 h 6858000"/>
              <a:gd name="connsiteX1" fmla="*/ 1595374 w 6089650"/>
              <a:gd name="connsiteY1" fmla="*/ 0 h 6858000"/>
              <a:gd name="connsiteX2" fmla="*/ 1595374 w 6089650"/>
              <a:gd name="connsiteY2" fmla="*/ 2523300 h 6858000"/>
              <a:gd name="connsiteX3" fmla="*/ 2028381 w 6089650"/>
              <a:gd name="connsiteY3" fmla="*/ 2523300 h 6858000"/>
              <a:gd name="connsiteX4" fmla="*/ 4196207 w 6089650"/>
              <a:gd name="connsiteY4" fmla="*/ 0 h 6858000"/>
              <a:gd name="connsiteX5" fmla="*/ 6089650 w 6089650"/>
              <a:gd name="connsiteY5" fmla="*/ 0 h 6858000"/>
              <a:gd name="connsiteX6" fmla="*/ 6089650 w 6089650"/>
              <a:gd name="connsiteY6" fmla="*/ 149543 h 6858000"/>
              <a:gd name="connsiteX7" fmla="*/ 3336607 w 6089650"/>
              <a:gd name="connsiteY7" fmla="*/ 3429000 h 6858000"/>
              <a:gd name="connsiteX8" fmla="*/ 6089650 w 6089650"/>
              <a:gd name="connsiteY8" fmla="*/ 6708394 h 6858000"/>
              <a:gd name="connsiteX9" fmla="*/ 6089650 w 6089650"/>
              <a:gd name="connsiteY9" fmla="*/ 6858000 h 6858000"/>
              <a:gd name="connsiteX10" fmla="*/ 4197350 w 6089650"/>
              <a:gd name="connsiteY10" fmla="*/ 6858000 h 6858000"/>
              <a:gd name="connsiteX11" fmla="*/ 2049907 w 6089650"/>
              <a:gd name="connsiteY11" fmla="*/ 4309428 h 6858000"/>
              <a:gd name="connsiteX12" fmla="*/ 1595311 w 6089650"/>
              <a:gd name="connsiteY12" fmla="*/ 4309301 h 6858000"/>
              <a:gd name="connsiteX13" fmla="*/ 1595311 w 6089650"/>
              <a:gd name="connsiteY13" fmla="*/ 6858000 h 6858000"/>
              <a:gd name="connsiteX14" fmla="*/ 0 w 6089650"/>
              <a:gd name="connsiteY1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89650" h="6858000">
                <a:moveTo>
                  <a:pt x="0" y="0"/>
                </a:moveTo>
                <a:lnTo>
                  <a:pt x="1595374" y="0"/>
                </a:lnTo>
                <a:lnTo>
                  <a:pt x="1595374" y="2523300"/>
                </a:lnTo>
                <a:lnTo>
                  <a:pt x="2028381" y="2523300"/>
                </a:lnTo>
                <a:lnTo>
                  <a:pt x="4196207" y="0"/>
                </a:lnTo>
                <a:lnTo>
                  <a:pt x="6089650" y="0"/>
                </a:lnTo>
                <a:lnTo>
                  <a:pt x="6089650" y="149543"/>
                </a:lnTo>
                <a:lnTo>
                  <a:pt x="3336607" y="3429000"/>
                </a:lnTo>
                <a:lnTo>
                  <a:pt x="6089650" y="6708394"/>
                </a:lnTo>
                <a:lnTo>
                  <a:pt x="6089650" y="6858000"/>
                </a:lnTo>
                <a:lnTo>
                  <a:pt x="4197350" y="6858000"/>
                </a:lnTo>
                <a:lnTo>
                  <a:pt x="2049907" y="4309428"/>
                </a:lnTo>
                <a:lnTo>
                  <a:pt x="1595311" y="4309301"/>
                </a:lnTo>
                <a:lnTo>
                  <a:pt x="159531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algn="l">
              <a:defRPr sz="11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image</a:t>
            </a:r>
          </a:p>
        </p:txBody>
      </p:sp>
    </p:spTree>
    <p:extLst>
      <p:ext uri="{BB962C8B-B14F-4D97-AF65-F5344CB8AC3E}">
        <p14:creationId xmlns:p14="http://schemas.microsoft.com/office/powerpoint/2010/main" val="44949380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1000"/>
            <a:ext cx="5334000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GB"/>
              <a:t>Key message. 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404520988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F66653-A36B-46DE-BBD0-F01F92C14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5471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F66653-A36B-46DE-BBD0-F01F92C14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D7010FC-D5EC-4F40-BF84-C3A559032E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7F5CAB5-F976-4C40-89AE-9A89E9C4AC4F}"/>
              </a:ext>
            </a:extLst>
          </p:cNvPr>
          <p:cNvSpPr/>
          <p:nvPr userDrawn="1"/>
        </p:nvSpPr>
        <p:spPr bwMode="gray">
          <a:xfrm>
            <a:off x="3048002" y="0"/>
            <a:ext cx="304799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3B78D11-144A-4B42-AA51-7E5FE4BFDAC3}"/>
              </a:ext>
            </a:extLst>
          </p:cNvPr>
          <p:cNvSpPr/>
          <p:nvPr userDrawn="1"/>
        </p:nvSpPr>
        <p:spPr bwMode="gray">
          <a:xfrm>
            <a:off x="6096000" y="0"/>
            <a:ext cx="3048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CF47EE3-F5CB-4E44-BC68-EC24C6779C1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3048000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796EB4AD-659A-9A47-B141-976732FEBC0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6096000" y="0"/>
            <a:ext cx="3048000" cy="2663825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19">
            <a:extLst>
              <a:ext uri="{FF2B5EF4-FFF2-40B4-BE49-F238E27FC236}">
                <a16:creationId xmlns:a16="http://schemas.microsoft.com/office/drawing/2014/main" id="{8DFD1BD5-98E0-0947-9140-940DFF97013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9147359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4CBE62D-52E2-4C4C-AF6E-96D1E5707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429001" y="3048000"/>
            <a:ext cx="2285999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1C3C4FE2-D60A-3C44-A1A2-F63809BB1E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477001" y="3048000"/>
            <a:ext cx="228600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39E6F826-10D9-8247-8889-29223C7F84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25000" y="3048000"/>
            <a:ext cx="228936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468541-A21A-46F7-AFC4-CBC98C325E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5999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16999771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66F4BDBA-8A7A-4151-9891-CE2FF8030BCB}"/>
              </a:ext>
            </a:extLst>
          </p:cNvPr>
          <p:cNvSpPr/>
          <p:nvPr userDrawn="1"/>
        </p:nvSpPr>
        <p:spPr>
          <a:xfrm>
            <a:off x="3048000" y="0"/>
            <a:ext cx="4572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A6D9F4-AFFE-40C2-A711-D5F9F9523EA2}"/>
              </a:ext>
            </a:extLst>
          </p:cNvPr>
          <p:cNvSpPr/>
          <p:nvPr userDrawn="1"/>
        </p:nvSpPr>
        <p:spPr>
          <a:xfrm>
            <a:off x="3048000" y="3429000"/>
            <a:ext cx="4572000" cy="3429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F887B0-D81F-4D6E-8490-01166A357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2F01B772-E707-4318-AFF4-D233B7291D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8973" y="381000"/>
            <a:ext cx="3810000" cy="3574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Situation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9F9E8AE9-DD63-4653-988B-3750118E13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73" y="3809999"/>
            <a:ext cx="3810000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pproach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7F035056-C297-4E3D-A5DA-D866119582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00999" y="3809999"/>
            <a:ext cx="3810001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Impact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FCA46901-ED40-41AA-95AD-ADE9E86C443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28973" y="4187825"/>
            <a:ext cx="381002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FFC8F3DC-2FB3-4CA7-9006-B6A3370B9E0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00944" y="4186238"/>
            <a:ext cx="380926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C88F3AC6-38BB-420F-928B-D3D9DAD55B7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28973" y="765175"/>
            <a:ext cx="3810001" cy="1277273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Picture Placeholder 20">
            <a:extLst>
              <a:ext uri="{FF2B5EF4-FFF2-40B4-BE49-F238E27FC236}">
                <a16:creationId xmlns:a16="http://schemas.microsoft.com/office/drawing/2014/main" id="{B62EDA09-4F38-47EC-8087-3301CDABF2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620000" y="-1"/>
            <a:ext cx="4572000" cy="3429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34177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96CD57-C0DB-43A8-8C5C-A539549839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7206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96CD57-C0DB-43A8-8C5C-A53954983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CB228E0-7DFF-492A-AFEB-CD54CE9A63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089A8CE-377D-4B70-A044-B5B63794CD49}"/>
              </a:ext>
            </a:extLst>
          </p:cNvPr>
          <p:cNvSpPr/>
          <p:nvPr userDrawn="1"/>
        </p:nvSpPr>
        <p:spPr bwMode="gray">
          <a:xfrm>
            <a:off x="0" y="1524001"/>
            <a:ext cx="3179676" cy="5333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0" y="-1587"/>
            <a:ext cx="12192000" cy="1525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E4614CD-0A06-45AD-BFB3-52C98A151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44DEC71-4DD6-4DF6-BCAF-2E2E1CED7F8F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29781C3-0962-F9C2-D3B4-74566AA301A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00083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969696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270B7BD-FC9D-4F69-A68F-E0C27C382D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1779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270B7BD-FC9D-4F69-A68F-E0C27C382D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C22C1CB-4182-4CFE-892E-F42BC6EFB9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0A2A9C-BC2E-E84C-9D64-34631BC47D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81000" y="765175"/>
            <a:ext cx="2667000" cy="75050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E2D8C7B-E137-3948-86A5-8EF55583B6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429001" y="765175"/>
            <a:ext cx="2666999" cy="75050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E76C799-A2B3-8549-BF01-A5E85152A2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81000" y="1721833"/>
            <a:ext cx="2667000" cy="75050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EF35F24-23CB-894F-98A8-27315C4DB2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429001" y="1721833"/>
            <a:ext cx="2666999" cy="75050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78BA69A-3076-2A40-8C16-4A197F6CC4C1}"/>
              </a:ext>
            </a:extLst>
          </p:cNvPr>
          <p:cNvSpPr/>
          <p:nvPr userDrawn="1"/>
        </p:nvSpPr>
        <p:spPr bwMode="gray">
          <a:xfrm>
            <a:off x="381000" y="5805054"/>
            <a:ext cx="5715000" cy="28777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s document is exclusively intended for selected client employees. Distribution, quotations and duplications – even in the form of extracts – for third parties is only  permitted upon prior written consent of KEARNEY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ARNEY used the text and charts compiled in this report in a presentation; they do not represent a complete documentation of the presentation.</a:t>
            </a:r>
          </a:p>
        </p:txBody>
      </p:sp>
      <p:sp>
        <p:nvSpPr>
          <p:cNvPr id="22" name="Picture Placeholder 43">
            <a:extLst>
              <a:ext uri="{FF2B5EF4-FFF2-40B4-BE49-F238E27FC236}">
                <a16:creationId xmlns:a16="http://schemas.microsoft.com/office/drawing/2014/main" id="{763095BA-2E8C-A049-B6E6-B9E92AF228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1858328 w 6096000"/>
              <a:gd name="connsiteY1" fmla="*/ 0 h 6858000"/>
              <a:gd name="connsiteX2" fmla="*/ 3456432 w 6096000"/>
              <a:gd name="connsiteY2" fmla="*/ 2612771 h 6858000"/>
              <a:gd name="connsiteX3" fmla="*/ 5093144 w 6096000"/>
              <a:gd name="connsiteY3" fmla="*/ 0 h 6858000"/>
              <a:gd name="connsiteX4" fmla="*/ 6096000 w 6096000"/>
              <a:gd name="connsiteY4" fmla="*/ 0 h 6858000"/>
              <a:gd name="connsiteX5" fmla="*/ 6096000 w 6096000"/>
              <a:gd name="connsiteY5" fmla="*/ 1283272 h 6858000"/>
              <a:gd name="connsiteX6" fmla="*/ 4272026 w 6096000"/>
              <a:gd name="connsiteY6" fmla="*/ 4115435 h 6858000"/>
              <a:gd name="connsiteX7" fmla="*/ 4272026 w 6096000"/>
              <a:gd name="connsiteY7" fmla="*/ 6858000 h 6858000"/>
              <a:gd name="connsiteX8" fmla="*/ 2650427 w 6096000"/>
              <a:gd name="connsiteY8" fmla="*/ 6858000 h 6858000"/>
              <a:gd name="connsiteX9" fmla="*/ 2650427 w 6096000"/>
              <a:gd name="connsiteY9" fmla="*/ 410629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1858328" y="0"/>
                </a:lnTo>
                <a:lnTo>
                  <a:pt x="3456432" y="2612771"/>
                </a:lnTo>
                <a:lnTo>
                  <a:pt x="5093144" y="0"/>
                </a:lnTo>
                <a:lnTo>
                  <a:pt x="6096000" y="0"/>
                </a:lnTo>
                <a:lnTo>
                  <a:pt x="6096000" y="1283272"/>
                </a:lnTo>
                <a:lnTo>
                  <a:pt x="4272026" y="4115435"/>
                </a:lnTo>
                <a:lnTo>
                  <a:pt x="4272026" y="6858000"/>
                </a:lnTo>
                <a:lnTo>
                  <a:pt x="2650427" y="6858000"/>
                </a:lnTo>
                <a:lnTo>
                  <a:pt x="2650427" y="41062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4D08DEC-6623-4781-9EAF-1AEF06E65F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1000" y="2678492"/>
            <a:ext cx="2667000" cy="75050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627CD43-C8BD-456F-B11B-D4CCC5605F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429001" y="2678492"/>
            <a:ext cx="2666999" cy="75050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3A35ABDC-1539-4A58-BE25-E90ADD73869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4305778-3C35-4F87-95B8-48D34A0EAB57}"/>
              </a:ext>
            </a:extLst>
          </p:cNvPr>
          <p:cNvSpPr/>
          <p:nvPr userDrawn="1"/>
        </p:nvSpPr>
        <p:spPr>
          <a:xfrm>
            <a:off x="381000" y="380999"/>
            <a:ext cx="2286000" cy="3857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D19352E-21F1-4375-A6D4-65010E3C6CCC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81000" y="3816948"/>
            <a:ext cx="5715000" cy="5333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lang="en-US" sz="1100" b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</a:pPr>
            <a:r>
              <a:rPr lang="en-US" sz="1100" b="0"/>
              <a:t>Kearney is a leading global management consulting firm. For nearly 100 years, we have been the trusted advisor to C-suites, government bodies, and nonprofit organizations. Our people make us who we are. Driven to be the difference between a big idea and making it happen, we help our clients break through. </a:t>
            </a:r>
          </a:p>
          <a:p>
            <a:pPr>
              <a:spcBef>
                <a:spcPts val="300"/>
              </a:spcBef>
            </a:pPr>
            <a:r>
              <a:rPr lang="en-US" sz="1100"/>
              <a:t>www.kearney.com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9E9F5617-7080-4BB2-94B0-F0A05C5823F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86715" y="4953000"/>
            <a:ext cx="2654300" cy="2784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lang="en-US" sz="1200" b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/>
              <a:t>Stay connected with Kearney</a:t>
            </a:r>
          </a:p>
        </p:txBody>
      </p:sp>
      <p:pic>
        <p:nvPicPr>
          <p:cNvPr id="16" name="Picture 15" descr="A drawing of a face&#10;&#10;Description automatically generated">
            <a:hlinkClick r:id="rId7"/>
            <a:extLst>
              <a:ext uri="{FF2B5EF4-FFF2-40B4-BE49-F238E27FC236}">
                <a16:creationId xmlns:a16="http://schemas.microsoft.com/office/drawing/2014/main" id="{C42EED9A-93D2-4111-93FB-44E62B46F22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4048" y="5181600"/>
            <a:ext cx="359237" cy="359237"/>
          </a:xfrm>
          <a:prstGeom prst="rect">
            <a:avLst/>
          </a:prstGeom>
        </p:spPr>
      </p:pic>
      <p:pic>
        <p:nvPicPr>
          <p:cNvPr id="17" name="Picture 16" descr="A picture containing drawing&#10;&#10;Description automatically generated">
            <a:hlinkClick r:id="rId9"/>
            <a:extLst>
              <a:ext uri="{FF2B5EF4-FFF2-40B4-BE49-F238E27FC236}">
                <a16:creationId xmlns:a16="http://schemas.microsoft.com/office/drawing/2014/main" id="{C2A7E718-FD1D-4AFE-ACE9-92725F57635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69018" y="5181600"/>
            <a:ext cx="359237" cy="359237"/>
          </a:xfrm>
          <a:prstGeom prst="rect">
            <a:avLst/>
          </a:prstGeom>
        </p:spPr>
      </p:pic>
      <p:pic>
        <p:nvPicPr>
          <p:cNvPr id="18" name="Picture 17" descr="A picture containing drawing&#10;&#10;Description automatically generated">
            <a:hlinkClick r:id="rId11"/>
            <a:extLst>
              <a:ext uri="{FF2B5EF4-FFF2-40B4-BE49-F238E27FC236}">
                <a16:creationId xmlns:a16="http://schemas.microsoft.com/office/drawing/2014/main" id="{1541D422-6334-4123-9AF4-77A42EF533ED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345905" y="5181600"/>
            <a:ext cx="359237" cy="359237"/>
          </a:xfrm>
          <a:prstGeom prst="rect">
            <a:avLst/>
          </a:prstGeom>
        </p:spPr>
      </p:pic>
      <p:pic>
        <p:nvPicPr>
          <p:cNvPr id="26" name="Picture 25" descr="A picture containing drawing&#10;&#10;Description automatically generated">
            <a:hlinkClick r:id="rId13"/>
            <a:extLst>
              <a:ext uri="{FF2B5EF4-FFF2-40B4-BE49-F238E27FC236}">
                <a16:creationId xmlns:a16="http://schemas.microsoft.com/office/drawing/2014/main" id="{A7CEEB1C-EE1B-439A-9586-F4EE1C8640AC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307763" y="5181600"/>
            <a:ext cx="359237" cy="359237"/>
          </a:xfrm>
          <a:prstGeom prst="rect">
            <a:avLst/>
          </a:prstGeom>
        </p:spPr>
      </p:pic>
      <p:pic>
        <p:nvPicPr>
          <p:cNvPr id="27" name="Picture 26" descr="A drawing of a face&#10;&#10;Description automatically generated">
            <a:hlinkClick r:id="rId15"/>
            <a:extLst>
              <a:ext uri="{FF2B5EF4-FFF2-40B4-BE49-F238E27FC236}">
                <a16:creationId xmlns:a16="http://schemas.microsoft.com/office/drawing/2014/main" id="{1294260F-3AED-47F6-A8CE-9E3083AD421C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822793" y="5181600"/>
            <a:ext cx="359237" cy="359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336192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userDrawn="1">
  <p:cSld name="Blank">
    <p:bg>
      <p:bgPr>
        <a:solidFill>
          <a:srgbClr val="FEFEFE"/>
        </a:solidFill>
        <a:effectLst/>
      </p:bgPr>
    </p:bg>
    <p:spTree>
      <p:nvGrpSpPr>
        <p:cNvPr id="1" name="Shape 169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087B764-DB21-44C6-81FB-8C3D526E47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9883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087B764-DB21-44C6-81FB-8C3D526E47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Google Shape;16906;p2">
            <a:extLst>
              <a:ext uri="{FF2B5EF4-FFF2-40B4-BE49-F238E27FC236}">
                <a16:creationId xmlns:a16="http://schemas.microsoft.com/office/drawing/2014/main" id="{0F2BF1B6-B2AB-4EAF-9EC7-44B179C03FB5}"/>
              </a:ext>
            </a:extLst>
          </p:cNvPr>
          <p:cNvSpPr txBox="1">
            <a:spLocks noGrp="1"/>
          </p:cNvSpPr>
          <p:nvPr>
            <p:ph type="sldNum" idx="4"/>
          </p:nvPr>
        </p:nvSpPr>
        <p:spPr>
          <a:xfrm>
            <a:off x="10936618" y="6406677"/>
            <a:ext cx="417182" cy="24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16E6C"/>
              </a:buClr>
              <a:buSzPts val="1800"/>
              <a:buFont typeface="Calibri"/>
              <a:buNone/>
              <a:defRPr sz="1000" b="0" i="0" u="none" strike="noStrike" cap="none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16E6C"/>
              </a:buClr>
              <a:buSzPts val="1800"/>
              <a:buFont typeface="Calibri"/>
              <a:buNone/>
              <a:defRPr sz="1800" b="0" i="0" u="none" strike="noStrike" cap="none">
                <a:solidFill>
                  <a:srgbClr val="016E6C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16E6C"/>
              </a:buClr>
              <a:buSzPts val="1800"/>
              <a:buFont typeface="Calibri"/>
              <a:buNone/>
              <a:defRPr sz="1800" b="0" i="0" u="none" strike="noStrike" cap="none">
                <a:solidFill>
                  <a:srgbClr val="016E6C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16E6C"/>
              </a:buClr>
              <a:buSzPts val="1800"/>
              <a:buFont typeface="Calibri"/>
              <a:buNone/>
              <a:defRPr sz="1800" b="0" i="0" u="none" strike="noStrike" cap="none">
                <a:solidFill>
                  <a:srgbClr val="016E6C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16E6C"/>
              </a:buClr>
              <a:buSzPts val="1800"/>
              <a:buFont typeface="Calibri"/>
              <a:buNone/>
              <a:defRPr sz="1800" b="0" i="0" u="none" strike="noStrike" cap="none">
                <a:solidFill>
                  <a:srgbClr val="016E6C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16E6C"/>
              </a:buClr>
              <a:buSzPts val="1800"/>
              <a:buFont typeface="Calibri"/>
              <a:buNone/>
              <a:defRPr sz="1800" b="0" i="0" u="none" strike="noStrike" cap="none">
                <a:solidFill>
                  <a:srgbClr val="016E6C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16E6C"/>
              </a:buClr>
              <a:buSzPts val="1800"/>
              <a:buFont typeface="Calibri"/>
              <a:buNone/>
              <a:defRPr sz="1800" b="0" i="0" u="none" strike="noStrike" cap="none">
                <a:solidFill>
                  <a:srgbClr val="016E6C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16E6C"/>
              </a:buClr>
              <a:buSzPts val="1800"/>
              <a:buFont typeface="Calibri"/>
              <a:buNone/>
              <a:defRPr sz="1800" b="0" i="0" u="none" strike="noStrike" cap="none">
                <a:solidFill>
                  <a:srgbClr val="016E6C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16E6C"/>
              </a:buClr>
              <a:buSzPts val="1800"/>
              <a:buFont typeface="Calibri"/>
              <a:buNone/>
              <a:defRPr sz="1800" b="0" i="0" u="none" strike="noStrike" cap="none">
                <a:solidFill>
                  <a:srgbClr val="016E6C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B3E45F58-A4F1-4CAA-9DA4-18C6ECA8901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alphaModFix amt="28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" y="5493360"/>
            <a:ext cx="1936376" cy="740751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7A185D8A-ECE4-46E5-947D-FE3E37AD3AA0}"/>
              </a:ext>
            </a:extLst>
          </p:cNvPr>
          <p:cNvGrpSpPr/>
          <p:nvPr userDrawn="1"/>
        </p:nvGrpSpPr>
        <p:grpSpPr>
          <a:xfrm flipH="1">
            <a:off x="9679742" y="1115770"/>
            <a:ext cx="2513752" cy="5031382"/>
            <a:chOff x="-73844" y="1115770"/>
            <a:chExt cx="2513752" cy="5031382"/>
          </a:xfrm>
        </p:grpSpPr>
        <p:sp>
          <p:nvSpPr>
            <p:cNvPr id="13" name="Graphic 10">
              <a:extLst>
                <a:ext uri="{FF2B5EF4-FFF2-40B4-BE49-F238E27FC236}">
                  <a16:creationId xmlns:a16="http://schemas.microsoft.com/office/drawing/2014/main" id="{3E299F35-2E8F-4402-8B58-5D3D49E56F5B}"/>
                </a:ext>
              </a:extLst>
            </p:cNvPr>
            <p:cNvSpPr/>
            <p:nvPr/>
          </p:nvSpPr>
          <p:spPr>
            <a:xfrm>
              <a:off x="-73844" y="2878276"/>
              <a:ext cx="796649" cy="1563559"/>
            </a:xfrm>
            <a:custGeom>
              <a:avLst/>
              <a:gdLst>
                <a:gd name="connsiteX0" fmla="*/ 320306 w 796649"/>
                <a:gd name="connsiteY0" fmla="*/ 1304737 h 1563559"/>
                <a:gd name="connsiteX1" fmla="*/ 256202 w 796649"/>
                <a:gd name="connsiteY1" fmla="*/ 1344742 h 1563559"/>
                <a:gd name="connsiteX2" fmla="*/ 212673 w 796649"/>
                <a:gd name="connsiteY2" fmla="*/ 1509525 h 1563559"/>
                <a:gd name="connsiteX3" fmla="*/ 369454 w 796649"/>
                <a:gd name="connsiteY3" fmla="*/ 1548482 h 1563559"/>
                <a:gd name="connsiteX4" fmla="*/ 697686 w 796649"/>
                <a:gd name="connsiteY4" fmla="*/ 1215679 h 1563559"/>
                <a:gd name="connsiteX5" fmla="*/ 737119 w 796649"/>
                <a:gd name="connsiteY5" fmla="*/ 529878 h 1563559"/>
                <a:gd name="connsiteX6" fmla="*/ 64559 w 796649"/>
                <a:gd name="connsiteY6" fmla="*/ 7051 h 1563559"/>
                <a:gd name="connsiteX7" fmla="*/ 20268 w 796649"/>
                <a:gd name="connsiteY7" fmla="*/ 1527 h 1563559"/>
                <a:gd name="connsiteX8" fmla="*/ -306 w 796649"/>
                <a:gd name="connsiteY8" fmla="*/ 98 h 1563559"/>
                <a:gd name="connsiteX9" fmla="*/ -306 w 796649"/>
                <a:gd name="connsiteY9" fmla="*/ 29244 h 1563559"/>
                <a:gd name="connsiteX10" fmla="*/ 18744 w 796649"/>
                <a:gd name="connsiteY10" fmla="*/ 30292 h 1563559"/>
                <a:gd name="connsiteX11" fmla="*/ 370312 w 796649"/>
                <a:gd name="connsiteY11" fmla="*/ 137829 h 1563559"/>
                <a:gd name="connsiteX12" fmla="*/ 767218 w 796649"/>
                <a:gd name="connsiteY12" fmla="*/ 818391 h 1563559"/>
                <a:gd name="connsiteX13" fmla="*/ 390981 w 796649"/>
                <a:gd name="connsiteY13" fmla="*/ 1504191 h 1563559"/>
                <a:gd name="connsiteX14" fmla="*/ 305256 w 796649"/>
                <a:gd name="connsiteY14" fmla="*/ 1535528 h 1563559"/>
                <a:gd name="connsiteX15" fmla="*/ 226484 w 796649"/>
                <a:gd name="connsiteY15" fmla="*/ 1465233 h 1563559"/>
                <a:gd name="connsiteX16" fmla="*/ 277252 w 796649"/>
                <a:gd name="connsiteY16" fmla="*/ 1364650 h 1563559"/>
                <a:gd name="connsiteX17" fmla="*/ 456227 w 796649"/>
                <a:gd name="connsiteY17" fmla="*/ 1212250 h 1563559"/>
                <a:gd name="connsiteX18" fmla="*/ 516235 w 796649"/>
                <a:gd name="connsiteY18" fmla="*/ 538260 h 1563559"/>
                <a:gd name="connsiteX19" fmla="*/ 60559 w 796649"/>
                <a:gd name="connsiteY19" fmla="*/ 214410 h 1563559"/>
                <a:gd name="connsiteX20" fmla="*/ 19792 w 796649"/>
                <a:gd name="connsiteY20" fmla="*/ 208791 h 1563559"/>
                <a:gd name="connsiteX21" fmla="*/ -401 w 796649"/>
                <a:gd name="connsiteY21" fmla="*/ 208791 h 1563559"/>
                <a:gd name="connsiteX22" fmla="*/ -401 w 796649"/>
                <a:gd name="connsiteY22" fmla="*/ 236794 h 1563559"/>
                <a:gd name="connsiteX23" fmla="*/ 18649 w 796649"/>
                <a:gd name="connsiteY23" fmla="*/ 237556 h 1563559"/>
                <a:gd name="connsiteX24" fmla="*/ 554906 w 796649"/>
                <a:gd name="connsiteY24" fmla="*/ 756002 h 1563559"/>
                <a:gd name="connsiteX25" fmla="*/ 320306 w 796649"/>
                <a:gd name="connsiteY25" fmla="*/ 1304737 h 1563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796649" h="1563559">
                  <a:moveTo>
                    <a:pt x="320306" y="1304737"/>
                  </a:moveTo>
                  <a:cubicBezTo>
                    <a:pt x="300684" y="1320358"/>
                    <a:pt x="277348" y="1331121"/>
                    <a:pt x="256202" y="1344742"/>
                  </a:cubicBezTo>
                  <a:cubicBezTo>
                    <a:pt x="197338" y="1382842"/>
                    <a:pt x="180002" y="1449517"/>
                    <a:pt x="212673" y="1509525"/>
                  </a:cubicBezTo>
                  <a:cubicBezTo>
                    <a:pt x="240200" y="1560198"/>
                    <a:pt x="310971" y="1580010"/>
                    <a:pt x="369454" y="1548482"/>
                  </a:cubicBezTo>
                  <a:cubicBezTo>
                    <a:pt x="510339" y="1473739"/>
                    <a:pt x="624896" y="1357582"/>
                    <a:pt x="697686" y="1215679"/>
                  </a:cubicBezTo>
                  <a:cubicBezTo>
                    <a:pt x="813319" y="993460"/>
                    <a:pt x="828178" y="760669"/>
                    <a:pt x="737119" y="529878"/>
                  </a:cubicBezTo>
                  <a:cubicBezTo>
                    <a:pt x="617485" y="226698"/>
                    <a:pt x="389457" y="51533"/>
                    <a:pt x="64559" y="7051"/>
                  </a:cubicBezTo>
                  <a:cubicBezTo>
                    <a:pt x="49795" y="5051"/>
                    <a:pt x="35032" y="2479"/>
                    <a:pt x="20268" y="1527"/>
                  </a:cubicBezTo>
                  <a:cubicBezTo>
                    <a:pt x="12172" y="1527"/>
                    <a:pt x="5409" y="669"/>
                    <a:pt x="-306" y="98"/>
                  </a:cubicBezTo>
                  <a:lnTo>
                    <a:pt x="-306" y="29244"/>
                  </a:lnTo>
                  <a:cubicBezTo>
                    <a:pt x="5028" y="29244"/>
                    <a:pt x="11219" y="29244"/>
                    <a:pt x="18744" y="30292"/>
                  </a:cubicBezTo>
                  <a:cubicBezTo>
                    <a:pt x="143521" y="40770"/>
                    <a:pt x="262870" y="70773"/>
                    <a:pt x="370312" y="137829"/>
                  </a:cubicBezTo>
                  <a:cubicBezTo>
                    <a:pt x="622724" y="295182"/>
                    <a:pt x="755122" y="522735"/>
                    <a:pt x="767218" y="818391"/>
                  </a:cubicBezTo>
                  <a:cubicBezTo>
                    <a:pt x="758932" y="1112999"/>
                    <a:pt x="637678" y="1343313"/>
                    <a:pt x="390981" y="1504191"/>
                  </a:cubicBezTo>
                  <a:cubicBezTo>
                    <a:pt x="365168" y="1521050"/>
                    <a:pt x="338498" y="1538576"/>
                    <a:pt x="305256" y="1535528"/>
                  </a:cubicBezTo>
                  <a:cubicBezTo>
                    <a:pt x="266042" y="1532794"/>
                    <a:pt x="233647" y="1503886"/>
                    <a:pt x="226484" y="1465233"/>
                  </a:cubicBezTo>
                  <a:cubicBezTo>
                    <a:pt x="218674" y="1427895"/>
                    <a:pt x="238962" y="1386271"/>
                    <a:pt x="277252" y="1364650"/>
                  </a:cubicBezTo>
                  <a:cubicBezTo>
                    <a:pt x="346976" y="1325311"/>
                    <a:pt x="409174" y="1276829"/>
                    <a:pt x="456227" y="1212250"/>
                  </a:cubicBezTo>
                  <a:cubicBezTo>
                    <a:pt x="610151" y="999842"/>
                    <a:pt x="635297" y="771432"/>
                    <a:pt x="516235" y="538260"/>
                  </a:cubicBezTo>
                  <a:cubicBezTo>
                    <a:pt x="422794" y="355380"/>
                    <a:pt x="266775" y="245843"/>
                    <a:pt x="60559" y="214410"/>
                  </a:cubicBezTo>
                  <a:cubicBezTo>
                    <a:pt x="47176" y="211277"/>
                    <a:pt x="33527" y="209400"/>
                    <a:pt x="19792" y="208791"/>
                  </a:cubicBezTo>
                  <a:cubicBezTo>
                    <a:pt x="11886" y="208791"/>
                    <a:pt x="5314" y="208791"/>
                    <a:pt x="-401" y="208791"/>
                  </a:cubicBezTo>
                  <a:lnTo>
                    <a:pt x="-401" y="236794"/>
                  </a:lnTo>
                  <a:cubicBezTo>
                    <a:pt x="4933" y="236794"/>
                    <a:pt x="11124" y="236794"/>
                    <a:pt x="18649" y="237556"/>
                  </a:cubicBezTo>
                  <a:cubicBezTo>
                    <a:pt x="293254" y="256606"/>
                    <a:pt x="525284" y="480539"/>
                    <a:pt x="554906" y="756002"/>
                  </a:cubicBezTo>
                  <a:cubicBezTo>
                    <a:pt x="579195" y="982316"/>
                    <a:pt x="497090" y="1164148"/>
                    <a:pt x="320306" y="1304737"/>
                  </a:cubicBezTo>
                  <a:close/>
                </a:path>
              </a:pathLst>
            </a:custGeom>
            <a:solidFill>
              <a:schemeClr val="accent6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Graphic 10">
              <a:extLst>
                <a:ext uri="{FF2B5EF4-FFF2-40B4-BE49-F238E27FC236}">
                  <a16:creationId xmlns:a16="http://schemas.microsoft.com/office/drawing/2014/main" id="{C6DA960B-44AC-4426-B257-61D2401C0866}"/>
                </a:ext>
              </a:extLst>
            </p:cNvPr>
            <p:cNvSpPr/>
            <p:nvPr/>
          </p:nvSpPr>
          <p:spPr>
            <a:xfrm>
              <a:off x="-73844" y="1115770"/>
              <a:ext cx="2513752" cy="5031382"/>
            </a:xfrm>
            <a:custGeom>
              <a:avLst/>
              <a:gdLst>
                <a:gd name="connsiteX0" fmla="*/ 1329194 w 2513752"/>
                <a:gd name="connsiteY0" fmla="*/ 3253171 h 5031382"/>
                <a:gd name="connsiteX1" fmla="*/ 844371 w 2513752"/>
                <a:gd name="connsiteY1" fmla="*/ 3382521 h 5031382"/>
                <a:gd name="connsiteX2" fmla="*/ 806271 w 2513752"/>
                <a:gd name="connsiteY2" fmla="*/ 3421192 h 5031382"/>
                <a:gd name="connsiteX3" fmla="*/ 674064 w 2513752"/>
                <a:gd name="connsiteY3" fmla="*/ 3920016 h 5031382"/>
                <a:gd name="connsiteX4" fmla="*/ 682351 w 2513752"/>
                <a:gd name="connsiteY4" fmla="*/ 3956688 h 5031382"/>
                <a:gd name="connsiteX5" fmla="*/ 1049349 w 2513752"/>
                <a:gd name="connsiteY5" fmla="*/ 4324448 h 5031382"/>
                <a:gd name="connsiteX6" fmla="*/ 1096021 w 2513752"/>
                <a:gd name="connsiteY6" fmla="*/ 4336735 h 5031382"/>
                <a:gd name="connsiteX7" fmla="*/ 1553221 w 2513752"/>
                <a:gd name="connsiteY7" fmla="*/ 4212910 h 5031382"/>
                <a:gd name="connsiteX8" fmla="*/ 1633422 w 2513752"/>
                <a:gd name="connsiteY8" fmla="*/ 4134329 h 5031382"/>
                <a:gd name="connsiteX9" fmla="*/ 1744198 w 2513752"/>
                <a:gd name="connsiteY9" fmla="*/ 3715229 h 5031382"/>
                <a:gd name="connsiteX10" fmla="*/ 1757437 w 2513752"/>
                <a:gd name="connsiteY10" fmla="*/ 3662175 h 5031382"/>
                <a:gd name="connsiteX11" fmla="*/ 1739245 w 2513752"/>
                <a:gd name="connsiteY11" fmla="*/ 3623122 h 5031382"/>
                <a:gd name="connsiteX12" fmla="*/ 1387296 w 2513752"/>
                <a:gd name="connsiteY12" fmla="*/ 3269459 h 5031382"/>
                <a:gd name="connsiteX13" fmla="*/ 1329194 w 2513752"/>
                <a:gd name="connsiteY13" fmla="*/ 3253171 h 5031382"/>
                <a:gd name="connsiteX14" fmla="*/ 1707050 w 2513752"/>
                <a:gd name="connsiteY14" fmla="*/ 3632362 h 5031382"/>
                <a:gd name="connsiteX15" fmla="*/ 1721147 w 2513752"/>
                <a:gd name="connsiteY15" fmla="*/ 3688083 h 5031382"/>
                <a:gd name="connsiteX16" fmla="*/ 1603514 w 2513752"/>
                <a:gd name="connsiteY16" fmla="*/ 4130138 h 5031382"/>
                <a:gd name="connsiteX17" fmla="*/ 1549316 w 2513752"/>
                <a:gd name="connsiteY17" fmla="*/ 4183478 h 5031382"/>
                <a:gd name="connsiteX18" fmla="*/ 1098022 w 2513752"/>
                <a:gd name="connsiteY18" fmla="*/ 4304350 h 5031382"/>
                <a:gd name="connsiteX19" fmla="*/ 1059160 w 2513752"/>
                <a:gd name="connsiteY19" fmla="*/ 4294064 h 5031382"/>
                <a:gd name="connsiteX20" fmla="*/ 722070 w 2513752"/>
                <a:gd name="connsiteY20" fmla="*/ 3955640 h 5031382"/>
                <a:gd name="connsiteX21" fmla="*/ 707306 w 2513752"/>
                <a:gd name="connsiteY21" fmla="*/ 3904491 h 5031382"/>
                <a:gd name="connsiteX22" fmla="*/ 830369 w 2513752"/>
                <a:gd name="connsiteY22" fmla="*/ 3442624 h 5031382"/>
                <a:gd name="connsiteX23" fmla="*/ 860087 w 2513752"/>
                <a:gd name="connsiteY23" fmla="*/ 3409191 h 5031382"/>
                <a:gd name="connsiteX24" fmla="*/ 1328241 w 2513752"/>
                <a:gd name="connsiteY24" fmla="*/ 3284794 h 5031382"/>
                <a:gd name="connsiteX25" fmla="*/ 1338719 w 2513752"/>
                <a:gd name="connsiteY25" fmla="*/ 3282413 h 5031382"/>
                <a:gd name="connsiteX26" fmla="*/ 1374056 w 2513752"/>
                <a:gd name="connsiteY26" fmla="*/ 3298987 h 5031382"/>
                <a:gd name="connsiteX27" fmla="*/ 1707050 w 2513752"/>
                <a:gd name="connsiteY27" fmla="*/ 3632362 h 5031382"/>
                <a:gd name="connsiteX28" fmla="*/ 1757914 w 2513752"/>
                <a:gd name="connsiteY28" fmla="*/ 1430086 h 5031382"/>
                <a:gd name="connsiteX29" fmla="*/ 1749055 w 2513752"/>
                <a:gd name="connsiteY29" fmla="*/ 1394272 h 5031382"/>
                <a:gd name="connsiteX30" fmla="*/ 1630279 w 2513752"/>
                <a:gd name="connsiteY30" fmla="*/ 945645 h 5031382"/>
                <a:gd name="connsiteX31" fmla="*/ 1563128 w 2513752"/>
                <a:gd name="connsiteY31" fmla="*/ 880398 h 5031382"/>
                <a:gd name="connsiteX32" fmla="*/ 1095641 w 2513752"/>
                <a:gd name="connsiteY32" fmla="*/ 754668 h 5031382"/>
                <a:gd name="connsiteX33" fmla="*/ 1055064 w 2513752"/>
                <a:gd name="connsiteY33" fmla="*/ 762384 h 5031382"/>
                <a:gd name="connsiteX34" fmla="*/ 681112 w 2513752"/>
                <a:gd name="connsiteY34" fmla="*/ 1137478 h 5031382"/>
                <a:gd name="connsiteX35" fmla="*/ 672731 w 2513752"/>
                <a:gd name="connsiteY35" fmla="*/ 1171101 h 5031382"/>
                <a:gd name="connsiteX36" fmla="*/ 805604 w 2513752"/>
                <a:gd name="connsiteY36" fmla="*/ 1669354 h 5031382"/>
                <a:gd name="connsiteX37" fmla="*/ 846371 w 2513752"/>
                <a:gd name="connsiteY37" fmla="*/ 1709454 h 5031382"/>
                <a:gd name="connsiteX38" fmla="*/ 1297475 w 2513752"/>
                <a:gd name="connsiteY38" fmla="*/ 1830708 h 5031382"/>
                <a:gd name="connsiteX39" fmla="*/ 1411775 w 2513752"/>
                <a:gd name="connsiteY39" fmla="*/ 1798608 h 5031382"/>
                <a:gd name="connsiteX40" fmla="*/ 1745150 w 2513752"/>
                <a:gd name="connsiteY40" fmla="*/ 1461328 h 5031382"/>
                <a:gd name="connsiteX41" fmla="*/ 1757914 w 2513752"/>
                <a:gd name="connsiteY41" fmla="*/ 1430086 h 5031382"/>
                <a:gd name="connsiteX42" fmla="*/ 1700764 w 2513752"/>
                <a:gd name="connsiteY42" fmla="*/ 1465519 h 5031382"/>
                <a:gd name="connsiteX43" fmla="*/ 1448828 w 2513752"/>
                <a:gd name="connsiteY43" fmla="*/ 1714407 h 5031382"/>
                <a:gd name="connsiteX44" fmla="*/ 1368913 w 2513752"/>
                <a:gd name="connsiteY44" fmla="*/ 1794894 h 5031382"/>
                <a:gd name="connsiteX45" fmla="*/ 1329384 w 2513752"/>
                <a:gd name="connsiteY45" fmla="*/ 1806800 h 5031382"/>
                <a:gd name="connsiteX46" fmla="*/ 1145647 w 2513752"/>
                <a:gd name="connsiteY46" fmla="*/ 1759175 h 5031382"/>
                <a:gd name="connsiteX47" fmla="*/ 873613 w 2513752"/>
                <a:gd name="connsiteY47" fmla="*/ 1685737 h 5031382"/>
                <a:gd name="connsiteX48" fmla="*/ 827893 w 2513752"/>
                <a:gd name="connsiteY48" fmla="*/ 1638112 h 5031382"/>
                <a:gd name="connsiteX49" fmla="*/ 710831 w 2513752"/>
                <a:gd name="connsiteY49" fmla="*/ 1202915 h 5031382"/>
                <a:gd name="connsiteX50" fmla="*/ 733024 w 2513752"/>
                <a:gd name="connsiteY50" fmla="*/ 1125477 h 5031382"/>
                <a:gd name="connsiteX51" fmla="*/ 1052587 w 2513752"/>
                <a:gd name="connsiteY51" fmla="*/ 803246 h 5031382"/>
                <a:gd name="connsiteX52" fmla="*/ 1103641 w 2513752"/>
                <a:gd name="connsiteY52" fmla="*/ 786196 h 5031382"/>
                <a:gd name="connsiteX53" fmla="*/ 1548173 w 2513752"/>
                <a:gd name="connsiteY53" fmla="*/ 907164 h 5031382"/>
                <a:gd name="connsiteX54" fmla="*/ 1602085 w 2513752"/>
                <a:gd name="connsiteY54" fmla="*/ 959361 h 5031382"/>
                <a:gd name="connsiteX55" fmla="*/ 1719909 w 2513752"/>
                <a:gd name="connsiteY55" fmla="*/ 1397987 h 5031382"/>
                <a:gd name="connsiteX56" fmla="*/ 1700764 w 2513752"/>
                <a:gd name="connsiteY56" fmla="*/ 1465519 h 5031382"/>
                <a:gd name="connsiteX57" fmla="*/ 1954700 w 2513752"/>
                <a:gd name="connsiteY57" fmla="*/ 3035335 h 5031382"/>
                <a:gd name="connsiteX58" fmla="*/ 2048141 w 2513752"/>
                <a:gd name="connsiteY58" fmla="*/ 2979042 h 5031382"/>
                <a:gd name="connsiteX59" fmla="*/ 2241022 w 2513752"/>
                <a:gd name="connsiteY59" fmla="*/ 2641857 h 5031382"/>
                <a:gd name="connsiteX60" fmla="*/ 2241022 w 2513752"/>
                <a:gd name="connsiteY60" fmla="*/ 2450309 h 5031382"/>
                <a:gd name="connsiteX61" fmla="*/ 2027472 w 2513752"/>
                <a:gd name="connsiteY61" fmla="*/ 2081215 h 5031382"/>
                <a:gd name="connsiteX62" fmla="*/ 1981275 w 2513752"/>
                <a:gd name="connsiteY62" fmla="*/ 2052640 h 5031382"/>
                <a:gd name="connsiteX63" fmla="*/ 1475878 w 2513752"/>
                <a:gd name="connsiteY63" fmla="*/ 2052640 h 5031382"/>
                <a:gd name="connsiteX64" fmla="*/ 1431302 w 2513752"/>
                <a:gd name="connsiteY64" fmla="*/ 2078643 h 5031382"/>
                <a:gd name="connsiteX65" fmla="*/ 1177270 w 2513752"/>
                <a:gd name="connsiteY65" fmla="*/ 2519746 h 5031382"/>
                <a:gd name="connsiteX66" fmla="*/ 1177270 w 2513752"/>
                <a:gd name="connsiteY66" fmla="*/ 2570991 h 5031382"/>
                <a:gd name="connsiteX67" fmla="*/ 1427015 w 2513752"/>
                <a:gd name="connsiteY67" fmla="*/ 3006664 h 5031382"/>
                <a:gd name="connsiteX68" fmla="*/ 1476641 w 2513752"/>
                <a:gd name="connsiteY68" fmla="*/ 3034763 h 5031382"/>
                <a:gd name="connsiteX69" fmla="*/ 1727624 w 2513752"/>
                <a:gd name="connsiteY69" fmla="*/ 3034763 h 5031382"/>
                <a:gd name="connsiteX70" fmla="*/ 1954700 w 2513752"/>
                <a:gd name="connsiteY70" fmla="*/ 3035335 h 5031382"/>
                <a:gd name="connsiteX71" fmla="*/ 1488832 w 2513752"/>
                <a:gd name="connsiteY71" fmla="*/ 3009236 h 5031382"/>
                <a:gd name="connsiteX72" fmla="*/ 1448446 w 2513752"/>
                <a:gd name="connsiteY72" fmla="*/ 2983899 h 5031382"/>
                <a:gd name="connsiteX73" fmla="*/ 1207559 w 2513752"/>
                <a:gd name="connsiteY73" fmla="*/ 2567181 h 5031382"/>
                <a:gd name="connsiteX74" fmla="*/ 1208131 w 2513752"/>
                <a:gd name="connsiteY74" fmla="*/ 2523175 h 5031382"/>
                <a:gd name="connsiteX75" fmla="*/ 1448066 w 2513752"/>
                <a:gd name="connsiteY75" fmla="*/ 2109886 h 5031382"/>
                <a:gd name="connsiteX76" fmla="*/ 1497500 w 2513752"/>
                <a:gd name="connsiteY76" fmla="*/ 2081310 h 5031382"/>
                <a:gd name="connsiteX77" fmla="*/ 1731244 w 2513752"/>
                <a:gd name="connsiteY77" fmla="*/ 2081310 h 5031382"/>
                <a:gd name="connsiteX78" fmla="*/ 1958225 w 2513752"/>
                <a:gd name="connsiteY78" fmla="*/ 2080739 h 5031382"/>
                <a:gd name="connsiteX79" fmla="*/ 2013089 w 2513752"/>
                <a:gd name="connsiteY79" fmla="*/ 2112267 h 5031382"/>
                <a:gd name="connsiteX80" fmla="*/ 2249689 w 2513752"/>
                <a:gd name="connsiteY80" fmla="*/ 2523461 h 5031382"/>
                <a:gd name="connsiteX81" fmla="*/ 2249689 w 2513752"/>
                <a:gd name="connsiteY81" fmla="*/ 2568324 h 5031382"/>
                <a:gd name="connsiteX82" fmla="*/ 2012803 w 2513752"/>
                <a:gd name="connsiteY82" fmla="*/ 2980090 h 5031382"/>
                <a:gd name="connsiteX83" fmla="*/ 1966702 w 2513752"/>
                <a:gd name="connsiteY83" fmla="*/ 3008665 h 5031382"/>
                <a:gd name="connsiteX84" fmla="*/ 1488832 w 2513752"/>
                <a:gd name="connsiteY84" fmla="*/ 3009236 h 5031382"/>
                <a:gd name="connsiteX85" fmla="*/ 3885 w 2513752"/>
                <a:gd name="connsiteY85" fmla="*/ 3560257 h 5031382"/>
                <a:gd name="connsiteX86" fmla="*/ -306 w 2513752"/>
                <a:gd name="connsiteY86" fmla="*/ 3558829 h 5031382"/>
                <a:gd name="connsiteX87" fmla="*/ -306 w 2513752"/>
                <a:gd name="connsiteY87" fmla="*/ 3528825 h 5031382"/>
                <a:gd name="connsiteX88" fmla="*/ 156857 w 2513752"/>
                <a:gd name="connsiteY88" fmla="*/ 3611502 h 5031382"/>
                <a:gd name="connsiteX89" fmla="*/ 466228 w 2513752"/>
                <a:gd name="connsiteY89" fmla="*/ 3790476 h 5031382"/>
                <a:gd name="connsiteX90" fmla="*/ 498994 w 2513752"/>
                <a:gd name="connsiteY90" fmla="*/ 3775713 h 5031382"/>
                <a:gd name="connsiteX91" fmla="*/ 618724 w 2513752"/>
                <a:gd name="connsiteY91" fmla="*/ 3319846 h 5031382"/>
                <a:gd name="connsiteX92" fmla="*/ 739691 w 2513752"/>
                <a:gd name="connsiteY92" fmla="*/ 3196021 h 5031382"/>
                <a:gd name="connsiteX93" fmla="*/ 1191748 w 2513752"/>
                <a:gd name="connsiteY93" fmla="*/ 3076864 h 5031382"/>
                <a:gd name="connsiteX94" fmla="*/ 1209464 w 2513752"/>
                <a:gd name="connsiteY94" fmla="*/ 3036763 h 5031382"/>
                <a:gd name="connsiteX95" fmla="*/ 967053 w 2513752"/>
                <a:gd name="connsiteY95" fmla="*/ 2620616 h 5031382"/>
                <a:gd name="connsiteX96" fmla="*/ 964291 w 2513752"/>
                <a:gd name="connsiteY96" fmla="*/ 2477170 h 5031382"/>
                <a:gd name="connsiteX97" fmla="*/ 1210321 w 2513752"/>
                <a:gd name="connsiteY97" fmla="*/ 2051211 h 5031382"/>
                <a:gd name="connsiteX98" fmla="*/ 1194891 w 2513752"/>
                <a:gd name="connsiteY98" fmla="*/ 2014445 h 5031382"/>
                <a:gd name="connsiteX99" fmla="*/ 729785 w 2513752"/>
                <a:gd name="connsiteY99" fmla="*/ 1891191 h 5031382"/>
                <a:gd name="connsiteX100" fmla="*/ 622534 w 2513752"/>
                <a:gd name="connsiteY100" fmla="*/ 1783845 h 5031382"/>
                <a:gd name="connsiteX101" fmla="*/ 501661 w 2513752"/>
                <a:gd name="connsiteY101" fmla="*/ 1324740 h 5031382"/>
                <a:gd name="connsiteX102" fmla="*/ 456418 w 2513752"/>
                <a:gd name="connsiteY102" fmla="*/ 1305690 h 5031382"/>
                <a:gd name="connsiteX103" fmla="*/ 87038 w 2513752"/>
                <a:gd name="connsiteY103" fmla="*/ 1518954 h 5031382"/>
                <a:gd name="connsiteX104" fmla="*/ -306 w 2513752"/>
                <a:gd name="connsiteY104" fmla="*/ 1562674 h 5031382"/>
                <a:gd name="connsiteX105" fmla="*/ -306 w 2513752"/>
                <a:gd name="connsiteY105" fmla="*/ 1532194 h 5031382"/>
                <a:gd name="connsiteX106" fmla="*/ 14362 w 2513752"/>
                <a:gd name="connsiteY106" fmla="*/ 1524860 h 5031382"/>
                <a:gd name="connsiteX107" fmla="*/ 259726 w 2513752"/>
                <a:gd name="connsiteY107" fmla="*/ 1385795 h 5031382"/>
                <a:gd name="connsiteX108" fmla="*/ 468800 w 2513752"/>
                <a:gd name="connsiteY108" fmla="*/ 1266351 h 5031382"/>
                <a:gd name="connsiteX109" fmla="*/ 523093 w 2513752"/>
                <a:gd name="connsiteY109" fmla="*/ 1290354 h 5031382"/>
                <a:gd name="connsiteX110" fmla="*/ 590435 w 2513752"/>
                <a:gd name="connsiteY110" fmla="*/ 1550196 h 5031382"/>
                <a:gd name="connsiteX111" fmla="*/ 657110 w 2513752"/>
                <a:gd name="connsiteY111" fmla="*/ 1792227 h 5031382"/>
                <a:gd name="connsiteX112" fmla="*/ 730452 w 2513752"/>
                <a:gd name="connsiteY112" fmla="*/ 1861283 h 5031382"/>
                <a:gd name="connsiteX113" fmla="*/ 1222323 w 2513752"/>
                <a:gd name="connsiteY113" fmla="*/ 1991585 h 5031382"/>
                <a:gd name="connsiteX114" fmla="*/ 1246707 w 2513752"/>
                <a:gd name="connsiteY114" fmla="*/ 2046354 h 5031382"/>
                <a:gd name="connsiteX115" fmla="*/ 1003153 w 2513752"/>
                <a:gd name="connsiteY115" fmla="*/ 2465930 h 5031382"/>
                <a:gd name="connsiteX116" fmla="*/ 1004010 w 2513752"/>
                <a:gd name="connsiteY116" fmla="*/ 2625378 h 5031382"/>
                <a:gd name="connsiteX117" fmla="*/ 1252327 w 2513752"/>
                <a:gd name="connsiteY117" fmla="*/ 3054003 h 5031382"/>
                <a:gd name="connsiteX118" fmla="*/ 1224990 w 2513752"/>
                <a:gd name="connsiteY118" fmla="*/ 3098485 h 5031382"/>
                <a:gd name="connsiteX119" fmla="*/ 743025 w 2513752"/>
                <a:gd name="connsiteY119" fmla="*/ 3226120 h 5031382"/>
                <a:gd name="connsiteX120" fmla="*/ 651299 w 2513752"/>
                <a:gd name="connsiteY120" fmla="*/ 3315370 h 5031382"/>
                <a:gd name="connsiteX121" fmla="*/ 521474 w 2513752"/>
                <a:gd name="connsiteY121" fmla="*/ 3804097 h 5031382"/>
                <a:gd name="connsiteX122" fmla="*/ 470039 w 2513752"/>
                <a:gd name="connsiteY122" fmla="*/ 3825909 h 5031382"/>
                <a:gd name="connsiteX123" fmla="*/ 53129 w 2513752"/>
                <a:gd name="connsiteY123" fmla="*/ 3585022 h 5031382"/>
                <a:gd name="connsiteX124" fmla="*/ 3885 w 2513752"/>
                <a:gd name="connsiteY124" fmla="*/ 3560257 h 5031382"/>
                <a:gd name="connsiteX125" fmla="*/ 425843 w 2513752"/>
                <a:gd name="connsiteY125" fmla="*/ 4616104 h 5031382"/>
                <a:gd name="connsiteX126" fmla="*/ 3218 w 2513752"/>
                <a:gd name="connsiteY126" fmla="*/ 4860801 h 5031382"/>
                <a:gd name="connsiteX127" fmla="*/ 170 w 2513752"/>
                <a:gd name="connsiteY127" fmla="*/ 4862801 h 5031382"/>
                <a:gd name="connsiteX128" fmla="*/ 170 w 2513752"/>
                <a:gd name="connsiteY128" fmla="*/ 4828511 h 5031382"/>
                <a:gd name="connsiteX129" fmla="*/ 10648 w 2513752"/>
                <a:gd name="connsiteY129" fmla="*/ 4822606 h 5031382"/>
                <a:gd name="connsiteX130" fmla="*/ 96849 w 2513752"/>
                <a:gd name="connsiteY130" fmla="*/ 4772504 h 5031382"/>
                <a:gd name="connsiteX131" fmla="*/ 392124 w 2513752"/>
                <a:gd name="connsiteY131" fmla="*/ 4603150 h 5031382"/>
                <a:gd name="connsiteX132" fmla="*/ 430986 w 2513752"/>
                <a:gd name="connsiteY132" fmla="*/ 4544761 h 5031382"/>
                <a:gd name="connsiteX133" fmla="*/ 430986 w 2513752"/>
                <a:gd name="connsiteY133" fmla="*/ 4076703 h 5031382"/>
                <a:gd name="connsiteX134" fmla="*/ 398696 w 2513752"/>
                <a:gd name="connsiteY134" fmla="*/ 4021839 h 5031382"/>
                <a:gd name="connsiteX135" fmla="*/ 5409 w 2513752"/>
                <a:gd name="connsiteY135" fmla="*/ 3795525 h 5031382"/>
                <a:gd name="connsiteX136" fmla="*/ 646 w 2513752"/>
                <a:gd name="connsiteY136" fmla="*/ 3792763 h 5031382"/>
                <a:gd name="connsiteX137" fmla="*/ 646 w 2513752"/>
                <a:gd name="connsiteY137" fmla="*/ 3759806 h 5031382"/>
                <a:gd name="connsiteX138" fmla="*/ 409269 w 2513752"/>
                <a:gd name="connsiteY138" fmla="*/ 3994883 h 5031382"/>
                <a:gd name="connsiteX139" fmla="*/ 461371 w 2513752"/>
                <a:gd name="connsiteY139" fmla="*/ 4083942 h 5031382"/>
                <a:gd name="connsiteX140" fmla="*/ 460704 w 2513752"/>
                <a:gd name="connsiteY140" fmla="*/ 4555715 h 5031382"/>
                <a:gd name="connsiteX141" fmla="*/ 425843 w 2513752"/>
                <a:gd name="connsiteY141" fmla="*/ 4616104 h 5031382"/>
                <a:gd name="connsiteX142" fmla="*/ 2489243 w 2513752"/>
                <a:gd name="connsiteY142" fmla="*/ 2624140 h 5031382"/>
                <a:gd name="connsiteX143" fmla="*/ 2312840 w 2513752"/>
                <a:gd name="connsiteY143" fmla="*/ 2927702 h 5031382"/>
                <a:gd name="connsiteX144" fmla="*/ 2176824 w 2513752"/>
                <a:gd name="connsiteY144" fmla="*/ 3167065 h 5031382"/>
                <a:gd name="connsiteX145" fmla="*/ 2052236 w 2513752"/>
                <a:gd name="connsiteY145" fmla="*/ 3241456 h 5031382"/>
                <a:gd name="connsiteX146" fmla="*/ 1657996 w 2513752"/>
                <a:gd name="connsiteY146" fmla="*/ 3241456 h 5031382"/>
                <a:gd name="connsiteX147" fmla="*/ 1679332 w 2513752"/>
                <a:gd name="connsiteY147" fmla="*/ 3272793 h 5031382"/>
                <a:gd name="connsiteX148" fmla="*/ 1934412 w 2513752"/>
                <a:gd name="connsiteY148" fmla="*/ 3528920 h 5031382"/>
                <a:gd name="connsiteX149" fmla="*/ 1971845 w 2513752"/>
                <a:gd name="connsiteY149" fmla="*/ 3656841 h 5031382"/>
                <a:gd name="connsiteX150" fmla="*/ 1799538 w 2513752"/>
                <a:gd name="connsiteY150" fmla="*/ 4298159 h 5031382"/>
                <a:gd name="connsiteX151" fmla="*/ 1700097 w 2513752"/>
                <a:gd name="connsiteY151" fmla="*/ 4387599 h 5031382"/>
                <a:gd name="connsiteX152" fmla="*/ 1191748 w 2513752"/>
                <a:gd name="connsiteY152" fmla="*/ 4522568 h 5031382"/>
                <a:gd name="connsiteX153" fmla="*/ 1089449 w 2513752"/>
                <a:gd name="connsiteY153" fmla="*/ 4552286 h 5031382"/>
                <a:gd name="connsiteX154" fmla="*/ 946574 w 2513752"/>
                <a:gd name="connsiteY154" fmla="*/ 4513329 h 5031382"/>
                <a:gd name="connsiteX155" fmla="*/ 696543 w 2513752"/>
                <a:gd name="connsiteY155" fmla="*/ 4262059 h 5031382"/>
                <a:gd name="connsiteX156" fmla="*/ 669873 w 2513752"/>
                <a:gd name="connsiteY156" fmla="*/ 4241295 h 5031382"/>
                <a:gd name="connsiteX157" fmla="*/ 665777 w 2513752"/>
                <a:gd name="connsiteY157" fmla="*/ 4277776 h 5031382"/>
                <a:gd name="connsiteX158" fmla="*/ 665777 w 2513752"/>
                <a:gd name="connsiteY158" fmla="*/ 4632582 h 5031382"/>
                <a:gd name="connsiteX159" fmla="*/ 598245 w 2513752"/>
                <a:gd name="connsiteY159" fmla="*/ 4754883 h 5031382"/>
                <a:gd name="connsiteX160" fmla="*/ 133139 w 2513752"/>
                <a:gd name="connsiteY160" fmla="*/ 5022440 h 5031382"/>
                <a:gd name="connsiteX161" fmla="*/ 73417 w 2513752"/>
                <a:gd name="connsiteY161" fmla="*/ 5026250 h 5031382"/>
                <a:gd name="connsiteX162" fmla="*/ 222674 w 2513752"/>
                <a:gd name="connsiteY162" fmla="*/ 4937668 h 5031382"/>
                <a:gd name="connsiteX163" fmla="*/ 583291 w 2513752"/>
                <a:gd name="connsiteY163" fmla="*/ 4729832 h 5031382"/>
                <a:gd name="connsiteX164" fmla="*/ 635774 w 2513752"/>
                <a:gd name="connsiteY164" fmla="*/ 4636773 h 5031382"/>
                <a:gd name="connsiteX165" fmla="*/ 635774 w 2513752"/>
                <a:gd name="connsiteY165" fmla="*/ 4237294 h 5031382"/>
                <a:gd name="connsiteX166" fmla="*/ 636821 w 2513752"/>
                <a:gd name="connsiteY166" fmla="*/ 4206338 h 5031382"/>
                <a:gd name="connsiteX167" fmla="*/ 669397 w 2513752"/>
                <a:gd name="connsiteY167" fmla="*/ 4194718 h 5031382"/>
                <a:gd name="connsiteX168" fmla="*/ 748359 w 2513752"/>
                <a:gd name="connsiteY168" fmla="*/ 4270918 h 5031382"/>
                <a:gd name="connsiteX169" fmla="*/ 976959 w 2513752"/>
                <a:gd name="connsiteY169" fmla="*/ 4503709 h 5031382"/>
                <a:gd name="connsiteX170" fmla="*/ 1061636 w 2513752"/>
                <a:gd name="connsiteY170" fmla="*/ 4528093 h 5031382"/>
                <a:gd name="connsiteX171" fmla="*/ 1609133 w 2513752"/>
                <a:gd name="connsiteY171" fmla="*/ 4379693 h 5031382"/>
                <a:gd name="connsiteX172" fmla="*/ 1698764 w 2513752"/>
                <a:gd name="connsiteY172" fmla="*/ 4355595 h 5031382"/>
                <a:gd name="connsiteX173" fmla="*/ 1773249 w 2513752"/>
                <a:gd name="connsiteY173" fmla="*/ 4279395 h 5031382"/>
                <a:gd name="connsiteX174" fmla="*/ 1903075 w 2513752"/>
                <a:gd name="connsiteY174" fmla="*/ 3793620 h 5031382"/>
                <a:gd name="connsiteX175" fmla="*/ 1939460 w 2513752"/>
                <a:gd name="connsiteY175" fmla="*/ 3660841 h 5031382"/>
                <a:gd name="connsiteX176" fmla="*/ 1905551 w 2513752"/>
                <a:gd name="connsiteY176" fmla="*/ 3540255 h 5031382"/>
                <a:gd name="connsiteX177" fmla="*/ 1647233 w 2513752"/>
                <a:gd name="connsiteY177" fmla="*/ 3282508 h 5031382"/>
                <a:gd name="connsiteX178" fmla="*/ 1614086 w 2513752"/>
                <a:gd name="connsiteY178" fmla="*/ 3247552 h 5031382"/>
                <a:gd name="connsiteX179" fmla="*/ 1628945 w 2513752"/>
                <a:gd name="connsiteY179" fmla="*/ 3212404 h 5031382"/>
                <a:gd name="connsiteX180" fmla="*/ 1663330 w 2513752"/>
                <a:gd name="connsiteY180" fmla="*/ 3211261 h 5031382"/>
                <a:gd name="connsiteX181" fmla="*/ 2052141 w 2513752"/>
                <a:gd name="connsiteY181" fmla="*/ 3211261 h 5031382"/>
                <a:gd name="connsiteX182" fmla="*/ 2146820 w 2513752"/>
                <a:gd name="connsiteY182" fmla="*/ 3156683 h 5031382"/>
                <a:gd name="connsiteX183" fmla="*/ 2466860 w 2513752"/>
                <a:gd name="connsiteY183" fmla="*/ 2598328 h 5031382"/>
                <a:gd name="connsiteX184" fmla="*/ 2466860 w 2513752"/>
                <a:gd name="connsiteY184" fmla="*/ 2488314 h 5031382"/>
                <a:gd name="connsiteX185" fmla="*/ 2151487 w 2513752"/>
                <a:gd name="connsiteY185" fmla="*/ 1939197 h 5031382"/>
                <a:gd name="connsiteX186" fmla="*/ 2037187 w 2513752"/>
                <a:gd name="connsiteY186" fmla="*/ 1874046 h 5031382"/>
                <a:gd name="connsiteX187" fmla="*/ 1658759 w 2513752"/>
                <a:gd name="connsiteY187" fmla="*/ 1874046 h 5031382"/>
                <a:gd name="connsiteX188" fmla="*/ 1609228 w 2513752"/>
                <a:gd name="connsiteY188" fmla="*/ 1862235 h 5031382"/>
                <a:gd name="connsiteX189" fmla="*/ 1637232 w 2513752"/>
                <a:gd name="connsiteY189" fmla="*/ 1818897 h 5031382"/>
                <a:gd name="connsiteX190" fmla="*/ 1904885 w 2513752"/>
                <a:gd name="connsiteY190" fmla="*/ 1551149 h 5031382"/>
                <a:gd name="connsiteX191" fmla="*/ 1939746 w 2513752"/>
                <a:gd name="connsiteY191" fmla="*/ 1423800 h 5031382"/>
                <a:gd name="connsiteX192" fmla="*/ 1777821 w 2513752"/>
                <a:gd name="connsiteY192" fmla="*/ 818867 h 5031382"/>
                <a:gd name="connsiteX193" fmla="*/ 1685905 w 2513752"/>
                <a:gd name="connsiteY193" fmla="*/ 729427 h 5031382"/>
                <a:gd name="connsiteX194" fmla="*/ 1091450 w 2513752"/>
                <a:gd name="connsiteY194" fmla="*/ 569693 h 5031382"/>
                <a:gd name="connsiteX195" fmla="*/ 958576 w 2513752"/>
                <a:gd name="connsiteY195" fmla="*/ 605221 h 5031382"/>
                <a:gd name="connsiteX196" fmla="*/ 689018 w 2513752"/>
                <a:gd name="connsiteY196" fmla="*/ 875922 h 5031382"/>
                <a:gd name="connsiteX197" fmla="*/ 646537 w 2513752"/>
                <a:gd name="connsiteY197" fmla="*/ 902973 h 5031382"/>
                <a:gd name="connsiteX198" fmla="*/ 636345 w 2513752"/>
                <a:gd name="connsiteY198" fmla="*/ 852300 h 5031382"/>
                <a:gd name="connsiteX199" fmla="*/ 636345 w 2513752"/>
                <a:gd name="connsiteY199" fmla="*/ 463108 h 5031382"/>
                <a:gd name="connsiteX200" fmla="*/ 573004 w 2513752"/>
                <a:gd name="connsiteY200" fmla="*/ 355190 h 5031382"/>
                <a:gd name="connsiteX201" fmla="*/ 66655 w 2513752"/>
                <a:gd name="connsiteY201" fmla="*/ 63058 h 5031382"/>
                <a:gd name="connsiteX202" fmla="*/ -20 w 2513752"/>
                <a:gd name="connsiteY202" fmla="*/ 25530 h 5031382"/>
                <a:gd name="connsiteX203" fmla="*/ -20 w 2513752"/>
                <a:gd name="connsiteY203" fmla="*/ 98 h 5031382"/>
                <a:gd name="connsiteX204" fmla="*/ 44461 w 2513752"/>
                <a:gd name="connsiteY204" fmla="*/ 14862 h 5031382"/>
                <a:gd name="connsiteX205" fmla="*/ 600436 w 2513752"/>
                <a:gd name="connsiteY205" fmla="*/ 338045 h 5031382"/>
                <a:gd name="connsiteX206" fmla="*/ 666444 w 2513752"/>
                <a:gd name="connsiteY206" fmla="*/ 454345 h 5031382"/>
                <a:gd name="connsiteX207" fmla="*/ 666444 w 2513752"/>
                <a:gd name="connsiteY207" fmla="*/ 809056 h 5031382"/>
                <a:gd name="connsiteX208" fmla="*/ 666444 w 2513752"/>
                <a:gd name="connsiteY208" fmla="*/ 845918 h 5031382"/>
                <a:gd name="connsiteX209" fmla="*/ 697591 w 2513752"/>
                <a:gd name="connsiteY209" fmla="*/ 826106 h 5031382"/>
                <a:gd name="connsiteX210" fmla="*/ 940193 w 2513752"/>
                <a:gd name="connsiteY210" fmla="*/ 582075 h 5031382"/>
                <a:gd name="connsiteX211" fmla="*/ 1092593 w 2513752"/>
                <a:gd name="connsiteY211" fmla="*/ 539499 h 5031382"/>
                <a:gd name="connsiteX212" fmla="*/ 1702193 w 2513752"/>
                <a:gd name="connsiteY212" fmla="*/ 704186 h 5031382"/>
                <a:gd name="connsiteX213" fmla="*/ 1800967 w 2513752"/>
                <a:gd name="connsiteY213" fmla="*/ 798674 h 5031382"/>
                <a:gd name="connsiteX214" fmla="*/ 1968130 w 2513752"/>
                <a:gd name="connsiteY214" fmla="*/ 1416751 h 5031382"/>
                <a:gd name="connsiteX215" fmla="*/ 1924601 w 2513752"/>
                <a:gd name="connsiteY215" fmla="*/ 1574961 h 5031382"/>
                <a:gd name="connsiteX216" fmla="*/ 1688381 w 2513752"/>
                <a:gd name="connsiteY216" fmla="*/ 1810991 h 5031382"/>
                <a:gd name="connsiteX217" fmla="*/ 1662664 w 2513752"/>
                <a:gd name="connsiteY217" fmla="*/ 1838709 h 5031382"/>
                <a:gd name="connsiteX218" fmla="*/ 1699716 w 2513752"/>
                <a:gd name="connsiteY218" fmla="*/ 1846233 h 5031382"/>
                <a:gd name="connsiteX219" fmla="*/ 2026614 w 2513752"/>
                <a:gd name="connsiteY219" fmla="*/ 1846233 h 5031382"/>
                <a:gd name="connsiteX220" fmla="*/ 2184824 w 2513752"/>
                <a:gd name="connsiteY220" fmla="*/ 1937102 h 5031382"/>
                <a:gd name="connsiteX221" fmla="*/ 2465622 w 2513752"/>
                <a:gd name="connsiteY221" fmla="*/ 2426687 h 5031382"/>
                <a:gd name="connsiteX222" fmla="*/ 2492482 w 2513752"/>
                <a:gd name="connsiteY222" fmla="*/ 2474788 h 5031382"/>
                <a:gd name="connsiteX223" fmla="*/ 2489243 w 2513752"/>
                <a:gd name="connsiteY223" fmla="*/ 2624140 h 5031382"/>
                <a:gd name="connsiteX224" fmla="*/ 1027 w 2513752"/>
                <a:gd name="connsiteY224" fmla="*/ 1331312 h 5031382"/>
                <a:gd name="connsiteX225" fmla="*/ -306 w 2513752"/>
                <a:gd name="connsiteY225" fmla="*/ 1332169 h 5031382"/>
                <a:gd name="connsiteX226" fmla="*/ -306 w 2513752"/>
                <a:gd name="connsiteY226" fmla="*/ 1297689 h 5031382"/>
                <a:gd name="connsiteX227" fmla="*/ 8743 w 2513752"/>
                <a:gd name="connsiteY227" fmla="*/ 1292736 h 5031382"/>
                <a:gd name="connsiteX228" fmla="*/ 404887 w 2513752"/>
                <a:gd name="connsiteY228" fmla="*/ 1064707 h 5031382"/>
                <a:gd name="connsiteX229" fmla="*/ 429843 w 2513752"/>
                <a:gd name="connsiteY229" fmla="*/ 1017082 h 5031382"/>
                <a:gd name="connsiteX230" fmla="*/ 429843 w 2513752"/>
                <a:gd name="connsiteY230" fmla="*/ 545595 h 5031382"/>
                <a:gd name="connsiteX231" fmla="*/ 401935 w 2513752"/>
                <a:gd name="connsiteY231" fmla="*/ 495588 h 5031382"/>
                <a:gd name="connsiteX232" fmla="*/ 3504 w 2513752"/>
                <a:gd name="connsiteY232" fmla="*/ 264702 h 5031382"/>
                <a:gd name="connsiteX233" fmla="*/ -401 w 2513752"/>
                <a:gd name="connsiteY233" fmla="*/ 262512 h 5031382"/>
                <a:gd name="connsiteX234" fmla="*/ -401 w 2513752"/>
                <a:gd name="connsiteY234" fmla="*/ 225364 h 5031382"/>
                <a:gd name="connsiteX235" fmla="*/ 43890 w 2513752"/>
                <a:gd name="connsiteY235" fmla="*/ 255749 h 5031382"/>
                <a:gd name="connsiteX236" fmla="*/ 431176 w 2513752"/>
                <a:gd name="connsiteY236" fmla="*/ 478920 h 5031382"/>
                <a:gd name="connsiteX237" fmla="*/ 459751 w 2513752"/>
                <a:gd name="connsiteY237" fmla="*/ 528164 h 5031382"/>
                <a:gd name="connsiteX238" fmla="*/ 459751 w 2513752"/>
                <a:gd name="connsiteY238" fmla="*/ 1030989 h 5031382"/>
                <a:gd name="connsiteX239" fmla="*/ 432510 w 2513752"/>
                <a:gd name="connsiteY239" fmla="*/ 1081376 h 5031382"/>
                <a:gd name="connsiteX240" fmla="*/ 1027 w 2513752"/>
                <a:gd name="connsiteY240" fmla="*/ 1331312 h 5031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</a:cxnLst>
              <a:rect l="l" t="t" r="r" b="b"/>
              <a:pathLst>
                <a:path w="2513752" h="5031382">
                  <a:moveTo>
                    <a:pt x="1329194" y="3253171"/>
                  </a:moveTo>
                  <a:cubicBezTo>
                    <a:pt x="1167716" y="3296672"/>
                    <a:pt x="1006106" y="3339782"/>
                    <a:pt x="844371" y="3382521"/>
                  </a:cubicBezTo>
                  <a:cubicBezTo>
                    <a:pt x="824959" y="3386397"/>
                    <a:pt x="809862" y="3401723"/>
                    <a:pt x="806271" y="3421192"/>
                  </a:cubicBezTo>
                  <a:cubicBezTo>
                    <a:pt x="762837" y="3587689"/>
                    <a:pt x="718765" y="3753967"/>
                    <a:pt x="674064" y="3920016"/>
                  </a:cubicBezTo>
                  <a:cubicBezTo>
                    <a:pt x="668749" y="3932761"/>
                    <a:pt x="672073" y="3947468"/>
                    <a:pt x="682351" y="3956688"/>
                  </a:cubicBezTo>
                  <a:cubicBezTo>
                    <a:pt x="804842" y="4079055"/>
                    <a:pt x="927172" y="4201642"/>
                    <a:pt x="1049349" y="4324448"/>
                  </a:cubicBezTo>
                  <a:cubicBezTo>
                    <a:pt x="1060979" y="4337631"/>
                    <a:pt x="1079410" y="4342479"/>
                    <a:pt x="1096021" y="4336735"/>
                  </a:cubicBezTo>
                  <a:cubicBezTo>
                    <a:pt x="1248421" y="4294635"/>
                    <a:pt x="1400345" y="4251010"/>
                    <a:pt x="1553221" y="4212910"/>
                  </a:cubicBezTo>
                  <a:cubicBezTo>
                    <a:pt x="1599608" y="4201385"/>
                    <a:pt x="1622088" y="4180144"/>
                    <a:pt x="1633422" y="4134329"/>
                  </a:cubicBezTo>
                  <a:cubicBezTo>
                    <a:pt x="1668284" y="3994121"/>
                    <a:pt x="1707050" y="3854961"/>
                    <a:pt x="1744198" y="3715229"/>
                  </a:cubicBezTo>
                  <a:cubicBezTo>
                    <a:pt x="1749246" y="3696179"/>
                    <a:pt x="1753723" y="3677129"/>
                    <a:pt x="1757437" y="3662175"/>
                  </a:cubicBezTo>
                  <a:cubicBezTo>
                    <a:pt x="1758866" y="3643125"/>
                    <a:pt x="1749055" y="3633028"/>
                    <a:pt x="1739245" y="3623122"/>
                  </a:cubicBezTo>
                  <a:cubicBezTo>
                    <a:pt x="1621802" y="3505393"/>
                    <a:pt x="1504073" y="3387855"/>
                    <a:pt x="1387296" y="3269459"/>
                  </a:cubicBezTo>
                  <a:cubicBezTo>
                    <a:pt x="1373066" y="3252686"/>
                    <a:pt x="1350072" y="3246237"/>
                    <a:pt x="1329194" y="3253171"/>
                  </a:cubicBezTo>
                  <a:close/>
                  <a:moveTo>
                    <a:pt x="1707050" y="3632362"/>
                  </a:moveTo>
                  <a:cubicBezTo>
                    <a:pt x="1722729" y="3646287"/>
                    <a:pt x="1728319" y="3668375"/>
                    <a:pt x="1721147" y="3688083"/>
                  </a:cubicBezTo>
                  <a:cubicBezTo>
                    <a:pt x="1681523" y="3835273"/>
                    <a:pt x="1642309" y="3982624"/>
                    <a:pt x="1603514" y="4130138"/>
                  </a:cubicBezTo>
                  <a:cubicBezTo>
                    <a:pt x="1598351" y="4157484"/>
                    <a:pt x="1576748" y="4178754"/>
                    <a:pt x="1549316" y="4183478"/>
                  </a:cubicBezTo>
                  <a:cubicBezTo>
                    <a:pt x="1398536" y="4222340"/>
                    <a:pt x="1248231" y="4263202"/>
                    <a:pt x="1098022" y="4304350"/>
                  </a:cubicBezTo>
                  <a:cubicBezTo>
                    <a:pt x="1084220" y="4309894"/>
                    <a:pt x="1068409" y="4305713"/>
                    <a:pt x="1059160" y="4294064"/>
                  </a:cubicBezTo>
                  <a:cubicBezTo>
                    <a:pt x="947460" y="4180459"/>
                    <a:pt x="835103" y="4067654"/>
                    <a:pt x="722070" y="3955640"/>
                  </a:cubicBezTo>
                  <a:cubicBezTo>
                    <a:pt x="706811" y="3943439"/>
                    <a:pt x="700886" y="3922950"/>
                    <a:pt x="707306" y="3904491"/>
                  </a:cubicBezTo>
                  <a:cubicBezTo>
                    <a:pt x="748931" y="3750662"/>
                    <a:pt x="789602" y="3596643"/>
                    <a:pt x="830369" y="3442624"/>
                  </a:cubicBezTo>
                  <a:cubicBezTo>
                    <a:pt x="834751" y="3426145"/>
                    <a:pt x="841514" y="3414049"/>
                    <a:pt x="860087" y="3409191"/>
                  </a:cubicBezTo>
                  <a:cubicBezTo>
                    <a:pt x="1016297" y="3368138"/>
                    <a:pt x="1172221" y="3326323"/>
                    <a:pt x="1328241" y="3284794"/>
                  </a:cubicBezTo>
                  <a:cubicBezTo>
                    <a:pt x="1332623" y="3283556"/>
                    <a:pt x="1337194" y="3282699"/>
                    <a:pt x="1338719" y="3282413"/>
                  </a:cubicBezTo>
                  <a:cubicBezTo>
                    <a:pt x="1356054" y="3280889"/>
                    <a:pt x="1365103" y="3290033"/>
                    <a:pt x="1374056" y="3298987"/>
                  </a:cubicBezTo>
                  <a:cubicBezTo>
                    <a:pt x="1485023" y="3410143"/>
                    <a:pt x="1595608" y="3521681"/>
                    <a:pt x="1707050" y="3632362"/>
                  </a:cubicBezTo>
                  <a:close/>
                  <a:moveTo>
                    <a:pt x="1757914" y="1430086"/>
                  </a:moveTo>
                  <a:cubicBezTo>
                    <a:pt x="1755628" y="1420561"/>
                    <a:pt x="1752675" y="1407512"/>
                    <a:pt x="1749055" y="1394272"/>
                  </a:cubicBezTo>
                  <a:cubicBezTo>
                    <a:pt x="1709241" y="1244730"/>
                    <a:pt x="1667807" y="1095663"/>
                    <a:pt x="1630279" y="945645"/>
                  </a:cubicBezTo>
                  <a:cubicBezTo>
                    <a:pt x="1620754" y="906402"/>
                    <a:pt x="1601228" y="890114"/>
                    <a:pt x="1563128" y="880398"/>
                  </a:cubicBezTo>
                  <a:cubicBezTo>
                    <a:pt x="1406918" y="840489"/>
                    <a:pt x="1251279" y="797245"/>
                    <a:pt x="1095641" y="754668"/>
                  </a:cubicBezTo>
                  <a:cubicBezTo>
                    <a:pt x="1080019" y="750382"/>
                    <a:pt x="1067732" y="749620"/>
                    <a:pt x="1055064" y="762384"/>
                  </a:cubicBezTo>
                  <a:cubicBezTo>
                    <a:pt x="930791" y="887669"/>
                    <a:pt x="806147" y="1012701"/>
                    <a:pt x="681112" y="1137478"/>
                  </a:cubicBezTo>
                  <a:cubicBezTo>
                    <a:pt x="671578" y="1145838"/>
                    <a:pt x="668235" y="1159243"/>
                    <a:pt x="672731" y="1171101"/>
                  </a:cubicBezTo>
                  <a:cubicBezTo>
                    <a:pt x="717689" y="1336963"/>
                    <a:pt x="761980" y="1503048"/>
                    <a:pt x="805604" y="1669354"/>
                  </a:cubicBezTo>
                  <a:cubicBezTo>
                    <a:pt x="809510" y="1689911"/>
                    <a:pt x="825750" y="1705891"/>
                    <a:pt x="846371" y="1709454"/>
                  </a:cubicBezTo>
                  <a:cubicBezTo>
                    <a:pt x="996961" y="1749174"/>
                    <a:pt x="1148123" y="1786988"/>
                    <a:pt x="1297475" y="1830708"/>
                  </a:cubicBezTo>
                  <a:cubicBezTo>
                    <a:pt x="1347006" y="1845186"/>
                    <a:pt x="1378343" y="1833375"/>
                    <a:pt x="1411775" y="1798608"/>
                  </a:cubicBezTo>
                  <a:cubicBezTo>
                    <a:pt x="1521694" y="1684975"/>
                    <a:pt x="1633708" y="1573437"/>
                    <a:pt x="1745150" y="1461328"/>
                  </a:cubicBezTo>
                  <a:cubicBezTo>
                    <a:pt x="1754247" y="1453617"/>
                    <a:pt x="1759009" y="1441958"/>
                    <a:pt x="1757914" y="1430086"/>
                  </a:cubicBezTo>
                  <a:close/>
                  <a:moveTo>
                    <a:pt x="1700764" y="1465519"/>
                  </a:moveTo>
                  <a:cubicBezTo>
                    <a:pt x="1616182" y="1547910"/>
                    <a:pt x="1532552" y="1631254"/>
                    <a:pt x="1448828" y="1714407"/>
                  </a:cubicBezTo>
                  <a:cubicBezTo>
                    <a:pt x="1421967" y="1740982"/>
                    <a:pt x="1399107" y="1771557"/>
                    <a:pt x="1368913" y="1794894"/>
                  </a:cubicBezTo>
                  <a:cubicBezTo>
                    <a:pt x="1359959" y="1801847"/>
                    <a:pt x="1352149" y="1811181"/>
                    <a:pt x="1329384" y="1806800"/>
                  </a:cubicBezTo>
                  <a:cubicBezTo>
                    <a:pt x="1274330" y="1792703"/>
                    <a:pt x="1209845" y="1776701"/>
                    <a:pt x="1145647" y="1759175"/>
                  </a:cubicBezTo>
                  <a:cubicBezTo>
                    <a:pt x="1054873" y="1734981"/>
                    <a:pt x="964672" y="1709169"/>
                    <a:pt x="873613" y="1685737"/>
                  </a:cubicBezTo>
                  <a:cubicBezTo>
                    <a:pt x="846848" y="1678879"/>
                    <a:pt x="834941" y="1665258"/>
                    <a:pt x="827893" y="1638112"/>
                  </a:cubicBezTo>
                  <a:cubicBezTo>
                    <a:pt x="790555" y="1492697"/>
                    <a:pt x="751531" y="1347631"/>
                    <a:pt x="710831" y="1202915"/>
                  </a:cubicBezTo>
                  <a:cubicBezTo>
                    <a:pt x="701306" y="1169387"/>
                    <a:pt x="708640" y="1149384"/>
                    <a:pt x="733024" y="1125477"/>
                  </a:cubicBezTo>
                  <a:cubicBezTo>
                    <a:pt x="840942" y="1019463"/>
                    <a:pt x="946384" y="911069"/>
                    <a:pt x="1052587" y="803246"/>
                  </a:cubicBezTo>
                  <a:cubicBezTo>
                    <a:pt x="1066970" y="788673"/>
                    <a:pt x="1080306" y="779624"/>
                    <a:pt x="1103641" y="786196"/>
                  </a:cubicBezTo>
                  <a:cubicBezTo>
                    <a:pt x="1251469" y="827661"/>
                    <a:pt x="1399650" y="867984"/>
                    <a:pt x="1548173" y="907164"/>
                  </a:cubicBezTo>
                  <a:cubicBezTo>
                    <a:pt x="1577987" y="915069"/>
                    <a:pt x="1593893" y="927261"/>
                    <a:pt x="1602085" y="959361"/>
                  </a:cubicBezTo>
                  <a:cubicBezTo>
                    <a:pt x="1639423" y="1106046"/>
                    <a:pt x="1679523" y="1252064"/>
                    <a:pt x="1719909" y="1397987"/>
                  </a:cubicBezTo>
                  <a:cubicBezTo>
                    <a:pt x="1727719" y="1426467"/>
                    <a:pt x="1721243" y="1445802"/>
                    <a:pt x="1700764" y="1465519"/>
                  </a:cubicBezTo>
                  <a:close/>
                  <a:moveTo>
                    <a:pt x="1954700" y="3035335"/>
                  </a:moveTo>
                  <a:cubicBezTo>
                    <a:pt x="2002325" y="3038287"/>
                    <a:pt x="2026423" y="3018475"/>
                    <a:pt x="2048141" y="2979042"/>
                  </a:cubicBezTo>
                  <a:cubicBezTo>
                    <a:pt x="2110529" y="2865599"/>
                    <a:pt x="2177109" y="2754442"/>
                    <a:pt x="2241022" y="2641857"/>
                  </a:cubicBezTo>
                  <a:cubicBezTo>
                    <a:pt x="2305983" y="2527557"/>
                    <a:pt x="2307697" y="2565657"/>
                    <a:pt x="2241022" y="2450309"/>
                  </a:cubicBezTo>
                  <a:cubicBezTo>
                    <a:pt x="2170632" y="2326484"/>
                    <a:pt x="2098147" y="2204374"/>
                    <a:pt x="2027472" y="2081215"/>
                  </a:cubicBezTo>
                  <a:cubicBezTo>
                    <a:pt x="2016994" y="2063118"/>
                    <a:pt x="2004231" y="2052640"/>
                    <a:pt x="1981275" y="2052640"/>
                  </a:cubicBezTo>
                  <a:cubicBezTo>
                    <a:pt x="1812873" y="2053212"/>
                    <a:pt x="1644404" y="2053212"/>
                    <a:pt x="1475878" y="2052640"/>
                  </a:cubicBezTo>
                  <a:cubicBezTo>
                    <a:pt x="1457152" y="2051583"/>
                    <a:pt x="1439598" y="2061822"/>
                    <a:pt x="1431302" y="2078643"/>
                  </a:cubicBezTo>
                  <a:cubicBezTo>
                    <a:pt x="1346910" y="2225776"/>
                    <a:pt x="1262233" y="2372804"/>
                    <a:pt x="1177270" y="2519746"/>
                  </a:cubicBezTo>
                  <a:cubicBezTo>
                    <a:pt x="1166878" y="2535243"/>
                    <a:pt x="1166878" y="2555494"/>
                    <a:pt x="1177270" y="2570991"/>
                  </a:cubicBezTo>
                  <a:cubicBezTo>
                    <a:pt x="1261090" y="2715895"/>
                    <a:pt x="1344338" y="2861122"/>
                    <a:pt x="1427015" y="3006664"/>
                  </a:cubicBezTo>
                  <a:cubicBezTo>
                    <a:pt x="1435988" y="3025552"/>
                    <a:pt x="1455829" y="3036782"/>
                    <a:pt x="1476641" y="3034763"/>
                  </a:cubicBezTo>
                  <a:cubicBezTo>
                    <a:pt x="1560270" y="3033715"/>
                    <a:pt x="1643995" y="3034763"/>
                    <a:pt x="1727624" y="3034763"/>
                  </a:cubicBezTo>
                  <a:cubicBezTo>
                    <a:pt x="1803443" y="3034096"/>
                    <a:pt x="1879357" y="3030667"/>
                    <a:pt x="1954700" y="3035335"/>
                  </a:cubicBezTo>
                  <a:close/>
                  <a:moveTo>
                    <a:pt x="1488832" y="3009236"/>
                  </a:moveTo>
                  <a:cubicBezTo>
                    <a:pt x="1471459" y="3009827"/>
                    <a:pt x="1455476" y="2999797"/>
                    <a:pt x="1448446" y="2983899"/>
                  </a:cubicBezTo>
                  <a:cubicBezTo>
                    <a:pt x="1368941" y="2844520"/>
                    <a:pt x="1288646" y="2705608"/>
                    <a:pt x="1207559" y="2567181"/>
                  </a:cubicBezTo>
                  <a:cubicBezTo>
                    <a:pt x="1198406" y="2553874"/>
                    <a:pt x="1198634" y="2536244"/>
                    <a:pt x="1208131" y="2523175"/>
                  </a:cubicBezTo>
                  <a:cubicBezTo>
                    <a:pt x="1288713" y="2385825"/>
                    <a:pt x="1368694" y="2248065"/>
                    <a:pt x="1448066" y="2109886"/>
                  </a:cubicBezTo>
                  <a:cubicBezTo>
                    <a:pt x="1456885" y="2090902"/>
                    <a:pt x="1476650" y="2079482"/>
                    <a:pt x="1497500" y="2081310"/>
                  </a:cubicBezTo>
                  <a:cubicBezTo>
                    <a:pt x="1575415" y="2082072"/>
                    <a:pt x="1653329" y="2081310"/>
                    <a:pt x="1731244" y="2081310"/>
                  </a:cubicBezTo>
                  <a:cubicBezTo>
                    <a:pt x="1807444" y="2081310"/>
                    <a:pt x="1882596" y="2082168"/>
                    <a:pt x="1958225" y="2080739"/>
                  </a:cubicBezTo>
                  <a:cubicBezTo>
                    <a:pt x="1981351" y="2078548"/>
                    <a:pt x="2003335" y="2091188"/>
                    <a:pt x="2013089" y="2112267"/>
                  </a:cubicBezTo>
                  <a:cubicBezTo>
                    <a:pt x="2091575" y="2249932"/>
                    <a:pt x="2170441" y="2386996"/>
                    <a:pt x="2249689" y="2523461"/>
                  </a:cubicBezTo>
                  <a:cubicBezTo>
                    <a:pt x="2258786" y="2537034"/>
                    <a:pt x="2258786" y="2554751"/>
                    <a:pt x="2249689" y="2568324"/>
                  </a:cubicBezTo>
                  <a:cubicBezTo>
                    <a:pt x="2170441" y="2705484"/>
                    <a:pt x="2091479" y="2842739"/>
                    <a:pt x="2012803" y="2980090"/>
                  </a:cubicBezTo>
                  <a:cubicBezTo>
                    <a:pt x="2001944" y="2999140"/>
                    <a:pt x="1988705" y="3008665"/>
                    <a:pt x="1966702" y="3008665"/>
                  </a:cubicBezTo>
                  <a:cubicBezTo>
                    <a:pt x="1807444" y="3008541"/>
                    <a:pt x="1648157" y="3008731"/>
                    <a:pt x="1488832" y="3009236"/>
                  </a:cubicBezTo>
                  <a:close/>
                  <a:moveTo>
                    <a:pt x="3885" y="3560257"/>
                  </a:moveTo>
                  <a:cubicBezTo>
                    <a:pt x="2523" y="3559695"/>
                    <a:pt x="1123" y="3559219"/>
                    <a:pt x="-306" y="3558829"/>
                  </a:cubicBezTo>
                  <a:lnTo>
                    <a:pt x="-306" y="3528825"/>
                  </a:lnTo>
                  <a:cubicBezTo>
                    <a:pt x="57796" y="3545113"/>
                    <a:pt x="105231" y="3582832"/>
                    <a:pt x="156857" y="3611502"/>
                  </a:cubicBezTo>
                  <a:cubicBezTo>
                    <a:pt x="261060" y="3669318"/>
                    <a:pt x="363359" y="3730469"/>
                    <a:pt x="466228" y="3790476"/>
                  </a:cubicBezTo>
                  <a:cubicBezTo>
                    <a:pt x="485278" y="3801335"/>
                    <a:pt x="493089" y="3798668"/>
                    <a:pt x="498994" y="3775713"/>
                  </a:cubicBezTo>
                  <a:cubicBezTo>
                    <a:pt x="538237" y="3623313"/>
                    <a:pt x="581100" y="3472341"/>
                    <a:pt x="618724" y="3319846"/>
                  </a:cubicBezTo>
                  <a:cubicBezTo>
                    <a:pt x="635393" y="3252124"/>
                    <a:pt x="671016" y="3213262"/>
                    <a:pt x="739691" y="3196021"/>
                  </a:cubicBezTo>
                  <a:cubicBezTo>
                    <a:pt x="890948" y="3158778"/>
                    <a:pt x="1040872" y="3116011"/>
                    <a:pt x="1191748" y="3076864"/>
                  </a:cubicBezTo>
                  <a:cubicBezTo>
                    <a:pt x="1218894" y="3069910"/>
                    <a:pt x="1224990" y="3063052"/>
                    <a:pt x="1209464" y="3036763"/>
                  </a:cubicBezTo>
                  <a:cubicBezTo>
                    <a:pt x="1127740" y="2898651"/>
                    <a:pt x="1047539" y="2759586"/>
                    <a:pt x="967053" y="2620616"/>
                  </a:cubicBezTo>
                  <a:cubicBezTo>
                    <a:pt x="939811" y="2573562"/>
                    <a:pt x="936001" y="2526033"/>
                    <a:pt x="964291" y="2477170"/>
                  </a:cubicBezTo>
                  <a:cubicBezTo>
                    <a:pt x="1046587" y="2335342"/>
                    <a:pt x="1127835" y="2192848"/>
                    <a:pt x="1210321" y="2051211"/>
                  </a:cubicBezTo>
                  <a:cubicBezTo>
                    <a:pt x="1223085" y="2029113"/>
                    <a:pt x="1219846" y="2020827"/>
                    <a:pt x="1194891" y="2014445"/>
                  </a:cubicBezTo>
                  <a:cubicBezTo>
                    <a:pt x="1039729" y="1973964"/>
                    <a:pt x="885043" y="1931577"/>
                    <a:pt x="729785" y="1891191"/>
                  </a:cubicBezTo>
                  <a:cubicBezTo>
                    <a:pt x="671968" y="1876142"/>
                    <a:pt x="637393" y="1842900"/>
                    <a:pt x="622534" y="1783845"/>
                  </a:cubicBezTo>
                  <a:cubicBezTo>
                    <a:pt x="583767" y="1630397"/>
                    <a:pt x="542238" y="1477711"/>
                    <a:pt x="501661" y="1324740"/>
                  </a:cubicBezTo>
                  <a:cubicBezTo>
                    <a:pt x="492136" y="1287497"/>
                    <a:pt x="489660" y="1286640"/>
                    <a:pt x="456418" y="1305690"/>
                  </a:cubicBezTo>
                  <a:cubicBezTo>
                    <a:pt x="333355" y="1376937"/>
                    <a:pt x="210482" y="1448565"/>
                    <a:pt x="87038" y="1518954"/>
                  </a:cubicBezTo>
                  <a:cubicBezTo>
                    <a:pt x="58463" y="1535052"/>
                    <a:pt x="31889" y="1554959"/>
                    <a:pt x="-306" y="1562674"/>
                  </a:cubicBezTo>
                  <a:lnTo>
                    <a:pt x="-306" y="1532194"/>
                  </a:lnTo>
                  <a:cubicBezTo>
                    <a:pt x="4723" y="1530039"/>
                    <a:pt x="9619" y="1527590"/>
                    <a:pt x="14362" y="1524860"/>
                  </a:cubicBezTo>
                  <a:cubicBezTo>
                    <a:pt x="96659" y="1479521"/>
                    <a:pt x="178097" y="1432372"/>
                    <a:pt x="259726" y="1385795"/>
                  </a:cubicBezTo>
                  <a:cubicBezTo>
                    <a:pt x="329450" y="1346076"/>
                    <a:pt x="398887" y="1305880"/>
                    <a:pt x="468800" y="1266351"/>
                  </a:cubicBezTo>
                  <a:cubicBezTo>
                    <a:pt x="504233" y="1246254"/>
                    <a:pt x="512044" y="1249302"/>
                    <a:pt x="523093" y="1290354"/>
                  </a:cubicBezTo>
                  <a:cubicBezTo>
                    <a:pt x="546143" y="1376841"/>
                    <a:pt x="567479" y="1463709"/>
                    <a:pt x="590435" y="1550196"/>
                  </a:cubicBezTo>
                  <a:cubicBezTo>
                    <a:pt x="611961" y="1631064"/>
                    <a:pt x="634345" y="1712121"/>
                    <a:pt x="657110" y="1792227"/>
                  </a:cubicBezTo>
                  <a:cubicBezTo>
                    <a:pt x="667587" y="1829469"/>
                    <a:pt x="691685" y="1851282"/>
                    <a:pt x="730452" y="1861283"/>
                  </a:cubicBezTo>
                  <a:cubicBezTo>
                    <a:pt x="894663" y="1903669"/>
                    <a:pt x="1058398" y="1947960"/>
                    <a:pt x="1222323" y="1991585"/>
                  </a:cubicBezTo>
                  <a:cubicBezTo>
                    <a:pt x="1266138" y="2003205"/>
                    <a:pt x="1268805" y="2008063"/>
                    <a:pt x="1246707" y="2046354"/>
                  </a:cubicBezTo>
                  <a:cubicBezTo>
                    <a:pt x="1166031" y="2186466"/>
                    <a:pt x="1086116" y="2327151"/>
                    <a:pt x="1003153" y="2465930"/>
                  </a:cubicBezTo>
                  <a:cubicBezTo>
                    <a:pt x="969910" y="2521461"/>
                    <a:pt x="969339" y="2568610"/>
                    <a:pt x="1004010" y="2625378"/>
                  </a:cubicBezTo>
                  <a:cubicBezTo>
                    <a:pt x="1089735" y="2766349"/>
                    <a:pt x="1170126" y="2911128"/>
                    <a:pt x="1252327" y="3054003"/>
                  </a:cubicBezTo>
                  <a:cubicBezTo>
                    <a:pt x="1268138" y="3081626"/>
                    <a:pt x="1264423" y="3087912"/>
                    <a:pt x="1224990" y="3098485"/>
                  </a:cubicBezTo>
                  <a:cubicBezTo>
                    <a:pt x="1064494" y="3141538"/>
                    <a:pt x="904093" y="3185258"/>
                    <a:pt x="743025" y="3226120"/>
                  </a:cubicBezTo>
                  <a:cubicBezTo>
                    <a:pt x="693019" y="3238789"/>
                    <a:pt x="664349" y="3264220"/>
                    <a:pt x="651299" y="3315370"/>
                  </a:cubicBezTo>
                  <a:cubicBezTo>
                    <a:pt x="609675" y="3478723"/>
                    <a:pt x="565003" y="3641220"/>
                    <a:pt x="521474" y="3804097"/>
                  </a:cubicBezTo>
                  <a:cubicBezTo>
                    <a:pt x="510043" y="3846579"/>
                    <a:pt x="506995" y="3847341"/>
                    <a:pt x="470039" y="3825909"/>
                  </a:cubicBezTo>
                  <a:cubicBezTo>
                    <a:pt x="331231" y="3745328"/>
                    <a:pt x="192261" y="3665032"/>
                    <a:pt x="53129" y="3585022"/>
                  </a:cubicBezTo>
                  <a:cubicBezTo>
                    <a:pt x="37280" y="3575688"/>
                    <a:pt x="20830" y="3567420"/>
                    <a:pt x="3885" y="3560257"/>
                  </a:cubicBezTo>
                  <a:close/>
                  <a:moveTo>
                    <a:pt x="425843" y="4616104"/>
                  </a:moveTo>
                  <a:cubicBezTo>
                    <a:pt x="284587" y="4697161"/>
                    <a:pt x="144665" y="4780219"/>
                    <a:pt x="3218" y="4860801"/>
                  </a:cubicBezTo>
                  <a:lnTo>
                    <a:pt x="170" y="4862801"/>
                  </a:lnTo>
                  <a:lnTo>
                    <a:pt x="170" y="4828511"/>
                  </a:lnTo>
                  <a:lnTo>
                    <a:pt x="10648" y="4822606"/>
                  </a:lnTo>
                  <a:cubicBezTo>
                    <a:pt x="39223" y="4806127"/>
                    <a:pt x="67798" y="4789078"/>
                    <a:pt x="96849" y="4772504"/>
                  </a:cubicBezTo>
                  <a:cubicBezTo>
                    <a:pt x="195147" y="4715926"/>
                    <a:pt x="293569" y="4659471"/>
                    <a:pt x="392124" y="4603150"/>
                  </a:cubicBezTo>
                  <a:cubicBezTo>
                    <a:pt x="415079" y="4590005"/>
                    <a:pt x="431272" y="4575718"/>
                    <a:pt x="430986" y="4544761"/>
                  </a:cubicBezTo>
                  <a:cubicBezTo>
                    <a:pt x="429557" y="4388742"/>
                    <a:pt x="429938" y="4232723"/>
                    <a:pt x="430986" y="4076703"/>
                  </a:cubicBezTo>
                  <a:cubicBezTo>
                    <a:pt x="432643" y="4053490"/>
                    <a:pt x="419794" y="4031659"/>
                    <a:pt x="398696" y="4021839"/>
                  </a:cubicBezTo>
                  <a:cubicBezTo>
                    <a:pt x="267156" y="3947163"/>
                    <a:pt x="136378" y="3871153"/>
                    <a:pt x="5409" y="3795525"/>
                  </a:cubicBezTo>
                  <a:lnTo>
                    <a:pt x="646" y="3792763"/>
                  </a:lnTo>
                  <a:lnTo>
                    <a:pt x="646" y="3759806"/>
                  </a:lnTo>
                  <a:cubicBezTo>
                    <a:pt x="136854" y="3838292"/>
                    <a:pt x="272204" y="3918016"/>
                    <a:pt x="409269" y="3994883"/>
                  </a:cubicBezTo>
                  <a:cubicBezTo>
                    <a:pt x="446417" y="4015838"/>
                    <a:pt x="462228" y="4039365"/>
                    <a:pt x="461371" y="4083942"/>
                  </a:cubicBezTo>
                  <a:cubicBezTo>
                    <a:pt x="458323" y="4241200"/>
                    <a:pt x="459466" y="4398267"/>
                    <a:pt x="460704" y="4555715"/>
                  </a:cubicBezTo>
                  <a:cubicBezTo>
                    <a:pt x="462990" y="4581185"/>
                    <a:pt x="449045" y="4605350"/>
                    <a:pt x="425843" y="4616104"/>
                  </a:cubicBezTo>
                  <a:close/>
                  <a:moveTo>
                    <a:pt x="2489243" y="2624140"/>
                  </a:moveTo>
                  <a:cubicBezTo>
                    <a:pt x="2429808" y="2724915"/>
                    <a:pt x="2371324" y="2826261"/>
                    <a:pt x="2312840" y="2927702"/>
                  </a:cubicBezTo>
                  <a:cubicBezTo>
                    <a:pt x="2267025" y="3007236"/>
                    <a:pt x="2220924" y="3086579"/>
                    <a:pt x="2176824" y="3167065"/>
                  </a:cubicBezTo>
                  <a:cubicBezTo>
                    <a:pt x="2149391" y="3217262"/>
                    <a:pt x="2110720" y="3242218"/>
                    <a:pt x="2052236" y="3241456"/>
                  </a:cubicBezTo>
                  <a:cubicBezTo>
                    <a:pt x="1921648" y="3239741"/>
                    <a:pt x="1790966" y="3241456"/>
                    <a:pt x="1657996" y="3241456"/>
                  </a:cubicBezTo>
                  <a:cubicBezTo>
                    <a:pt x="1659616" y="3257934"/>
                    <a:pt x="1671236" y="3264601"/>
                    <a:pt x="1679332" y="3272793"/>
                  </a:cubicBezTo>
                  <a:cubicBezTo>
                    <a:pt x="1764105" y="3358518"/>
                    <a:pt x="1848782" y="3444243"/>
                    <a:pt x="1934412" y="3528920"/>
                  </a:cubicBezTo>
                  <a:cubicBezTo>
                    <a:pt x="1971178" y="3565210"/>
                    <a:pt x="1985275" y="3606549"/>
                    <a:pt x="1971845" y="3656841"/>
                  </a:cubicBezTo>
                  <a:cubicBezTo>
                    <a:pt x="1914695" y="3870582"/>
                    <a:pt x="1857260" y="4084351"/>
                    <a:pt x="1799538" y="4298159"/>
                  </a:cubicBezTo>
                  <a:cubicBezTo>
                    <a:pt x="1785822" y="4349118"/>
                    <a:pt x="1749151" y="4374359"/>
                    <a:pt x="1700097" y="4387599"/>
                  </a:cubicBezTo>
                  <a:cubicBezTo>
                    <a:pt x="1530486" y="4432052"/>
                    <a:pt x="1361035" y="4477039"/>
                    <a:pt x="1191748" y="4522568"/>
                  </a:cubicBezTo>
                  <a:cubicBezTo>
                    <a:pt x="1157458" y="4532093"/>
                    <a:pt x="1123073" y="4541047"/>
                    <a:pt x="1089449" y="4552286"/>
                  </a:cubicBezTo>
                  <a:cubicBezTo>
                    <a:pt x="1032299" y="4571336"/>
                    <a:pt x="987722" y="4555715"/>
                    <a:pt x="946574" y="4513329"/>
                  </a:cubicBezTo>
                  <a:cubicBezTo>
                    <a:pt x="864469" y="4428366"/>
                    <a:pt x="780077" y="4345594"/>
                    <a:pt x="696543" y="4262059"/>
                  </a:cubicBezTo>
                  <a:cubicBezTo>
                    <a:pt x="688733" y="4254249"/>
                    <a:pt x="683018" y="4243009"/>
                    <a:pt x="669873" y="4241295"/>
                  </a:cubicBezTo>
                  <a:cubicBezTo>
                    <a:pt x="661872" y="4252915"/>
                    <a:pt x="665777" y="4265774"/>
                    <a:pt x="665777" y="4277776"/>
                  </a:cubicBezTo>
                  <a:cubicBezTo>
                    <a:pt x="665777" y="4396076"/>
                    <a:pt x="664349" y="4514281"/>
                    <a:pt x="665777" y="4632582"/>
                  </a:cubicBezTo>
                  <a:cubicBezTo>
                    <a:pt x="666539" y="4687636"/>
                    <a:pt x="645299" y="4727832"/>
                    <a:pt x="598245" y="4754883"/>
                  </a:cubicBezTo>
                  <a:cubicBezTo>
                    <a:pt x="443302" y="4844104"/>
                    <a:pt x="288273" y="4933286"/>
                    <a:pt x="133139" y="5022440"/>
                  </a:cubicBezTo>
                  <a:cubicBezTo>
                    <a:pt x="116566" y="5031965"/>
                    <a:pt x="99897" y="5035108"/>
                    <a:pt x="73417" y="5026250"/>
                  </a:cubicBezTo>
                  <a:cubicBezTo>
                    <a:pt x="127139" y="4994341"/>
                    <a:pt x="174668" y="4965481"/>
                    <a:pt x="222674" y="4937668"/>
                  </a:cubicBezTo>
                  <a:cubicBezTo>
                    <a:pt x="342689" y="4868040"/>
                    <a:pt x="462609" y="4798317"/>
                    <a:pt x="583291" y="4729832"/>
                  </a:cubicBezTo>
                  <a:cubicBezTo>
                    <a:pt x="620534" y="4708782"/>
                    <a:pt x="635869" y="4678492"/>
                    <a:pt x="635774" y="4636773"/>
                  </a:cubicBezTo>
                  <a:cubicBezTo>
                    <a:pt x="635202" y="4503423"/>
                    <a:pt x="635774" y="4370073"/>
                    <a:pt x="635774" y="4237294"/>
                  </a:cubicBezTo>
                  <a:cubicBezTo>
                    <a:pt x="635211" y="4226969"/>
                    <a:pt x="635564" y="4216606"/>
                    <a:pt x="636821" y="4206338"/>
                  </a:cubicBezTo>
                  <a:cubicBezTo>
                    <a:pt x="640631" y="4184526"/>
                    <a:pt x="651680" y="4177763"/>
                    <a:pt x="669397" y="4194718"/>
                  </a:cubicBezTo>
                  <a:cubicBezTo>
                    <a:pt x="695971" y="4219959"/>
                    <a:pt x="722546" y="4245295"/>
                    <a:pt x="748359" y="4270918"/>
                  </a:cubicBezTo>
                  <a:cubicBezTo>
                    <a:pt x="824559" y="4348356"/>
                    <a:pt x="900759" y="4426366"/>
                    <a:pt x="976959" y="4503709"/>
                  </a:cubicBezTo>
                  <a:cubicBezTo>
                    <a:pt x="998076" y="4527559"/>
                    <a:pt x="1031070" y="4537056"/>
                    <a:pt x="1061636" y="4528093"/>
                  </a:cubicBezTo>
                  <a:lnTo>
                    <a:pt x="1609133" y="4379693"/>
                  </a:lnTo>
                  <a:cubicBezTo>
                    <a:pt x="1638946" y="4371597"/>
                    <a:pt x="1668569" y="4362262"/>
                    <a:pt x="1698764" y="4355595"/>
                  </a:cubicBezTo>
                  <a:cubicBezTo>
                    <a:pt x="1740579" y="4346070"/>
                    <a:pt x="1762581" y="4320543"/>
                    <a:pt x="1773249" y="4279395"/>
                  </a:cubicBezTo>
                  <a:cubicBezTo>
                    <a:pt x="1815730" y="4117470"/>
                    <a:pt x="1859641" y="3955545"/>
                    <a:pt x="1903075" y="3793620"/>
                  </a:cubicBezTo>
                  <a:cubicBezTo>
                    <a:pt x="1914981" y="3749329"/>
                    <a:pt x="1925459" y="3704561"/>
                    <a:pt x="1939460" y="3660841"/>
                  </a:cubicBezTo>
                  <a:cubicBezTo>
                    <a:pt x="1955081" y="3612073"/>
                    <a:pt x="1941270" y="3575116"/>
                    <a:pt x="1905551" y="3540255"/>
                  </a:cubicBezTo>
                  <a:cubicBezTo>
                    <a:pt x="1818398" y="3455482"/>
                    <a:pt x="1733149" y="3368805"/>
                    <a:pt x="1647233" y="3282508"/>
                  </a:cubicBezTo>
                  <a:cubicBezTo>
                    <a:pt x="1635556" y="3271469"/>
                    <a:pt x="1624487" y="3259801"/>
                    <a:pt x="1614086" y="3247552"/>
                  </a:cubicBezTo>
                  <a:cubicBezTo>
                    <a:pt x="1598275" y="3227835"/>
                    <a:pt x="1605800" y="3215833"/>
                    <a:pt x="1628945" y="3212404"/>
                  </a:cubicBezTo>
                  <a:cubicBezTo>
                    <a:pt x="1640366" y="3211166"/>
                    <a:pt x="1651853" y="3210785"/>
                    <a:pt x="1663330" y="3211261"/>
                  </a:cubicBezTo>
                  <a:cubicBezTo>
                    <a:pt x="1792871" y="3211261"/>
                    <a:pt x="1922506" y="3210499"/>
                    <a:pt x="2052141" y="3211261"/>
                  </a:cubicBezTo>
                  <a:cubicBezTo>
                    <a:pt x="2095670" y="3211261"/>
                    <a:pt x="2125008" y="3195259"/>
                    <a:pt x="2146820" y="3156683"/>
                  </a:cubicBezTo>
                  <a:cubicBezTo>
                    <a:pt x="2252547" y="2969993"/>
                    <a:pt x="2359227" y="2783874"/>
                    <a:pt x="2466860" y="2598328"/>
                  </a:cubicBezTo>
                  <a:cubicBezTo>
                    <a:pt x="2488662" y="2564895"/>
                    <a:pt x="2488662" y="2521747"/>
                    <a:pt x="2466860" y="2488314"/>
                  </a:cubicBezTo>
                  <a:cubicBezTo>
                    <a:pt x="2361132" y="2305624"/>
                    <a:pt x="2255309" y="2122935"/>
                    <a:pt x="2151487" y="1939197"/>
                  </a:cubicBezTo>
                  <a:cubicBezTo>
                    <a:pt x="2125103" y="1892430"/>
                    <a:pt x="2089384" y="1873380"/>
                    <a:pt x="2037187" y="1874046"/>
                  </a:cubicBezTo>
                  <a:cubicBezTo>
                    <a:pt x="1911076" y="1875666"/>
                    <a:pt x="1784869" y="1874808"/>
                    <a:pt x="1658759" y="1874046"/>
                  </a:cubicBezTo>
                  <a:cubicBezTo>
                    <a:pt x="1641423" y="1874046"/>
                    <a:pt x="1616944" y="1882714"/>
                    <a:pt x="1609228" y="1862235"/>
                  </a:cubicBezTo>
                  <a:cubicBezTo>
                    <a:pt x="1601513" y="1841757"/>
                    <a:pt x="1624945" y="1831374"/>
                    <a:pt x="1637232" y="1818897"/>
                  </a:cubicBezTo>
                  <a:cubicBezTo>
                    <a:pt x="1726005" y="1729266"/>
                    <a:pt x="1814778" y="1639446"/>
                    <a:pt x="1904885" y="1551149"/>
                  </a:cubicBezTo>
                  <a:cubicBezTo>
                    <a:pt x="1942318" y="1514478"/>
                    <a:pt x="1954129" y="1475616"/>
                    <a:pt x="1939746" y="1423800"/>
                  </a:cubicBezTo>
                  <a:cubicBezTo>
                    <a:pt x="1884054" y="1222632"/>
                    <a:pt x="1830085" y="1020987"/>
                    <a:pt x="1777821" y="818867"/>
                  </a:cubicBezTo>
                  <a:cubicBezTo>
                    <a:pt x="1764677" y="768480"/>
                    <a:pt x="1736102" y="742667"/>
                    <a:pt x="1685905" y="729427"/>
                  </a:cubicBezTo>
                  <a:cubicBezTo>
                    <a:pt x="1487213" y="678500"/>
                    <a:pt x="1289065" y="625255"/>
                    <a:pt x="1091450" y="569693"/>
                  </a:cubicBezTo>
                  <a:cubicBezTo>
                    <a:pt x="1037919" y="554643"/>
                    <a:pt x="997628" y="564359"/>
                    <a:pt x="958576" y="605221"/>
                  </a:cubicBezTo>
                  <a:cubicBezTo>
                    <a:pt x="870660" y="697328"/>
                    <a:pt x="779601" y="786196"/>
                    <a:pt x="689018" y="875922"/>
                  </a:cubicBezTo>
                  <a:cubicBezTo>
                    <a:pt x="677017" y="887828"/>
                    <a:pt x="666730" y="912498"/>
                    <a:pt x="646537" y="902973"/>
                  </a:cubicBezTo>
                  <a:cubicBezTo>
                    <a:pt x="626344" y="893448"/>
                    <a:pt x="636440" y="869826"/>
                    <a:pt x="636345" y="852300"/>
                  </a:cubicBezTo>
                  <a:cubicBezTo>
                    <a:pt x="635774" y="722569"/>
                    <a:pt x="635107" y="592839"/>
                    <a:pt x="636345" y="463108"/>
                  </a:cubicBezTo>
                  <a:cubicBezTo>
                    <a:pt x="636821" y="413007"/>
                    <a:pt x="617295" y="380431"/>
                    <a:pt x="573004" y="355190"/>
                  </a:cubicBezTo>
                  <a:cubicBezTo>
                    <a:pt x="403459" y="259368"/>
                    <a:pt x="235342" y="160213"/>
                    <a:pt x="66655" y="63058"/>
                  </a:cubicBezTo>
                  <a:cubicBezTo>
                    <a:pt x="45319" y="50866"/>
                    <a:pt x="21601" y="28292"/>
                    <a:pt x="-20" y="25530"/>
                  </a:cubicBezTo>
                  <a:lnTo>
                    <a:pt x="-20" y="98"/>
                  </a:lnTo>
                  <a:cubicBezTo>
                    <a:pt x="13553" y="8205"/>
                    <a:pt x="28736" y="13243"/>
                    <a:pt x="44461" y="14862"/>
                  </a:cubicBezTo>
                  <a:cubicBezTo>
                    <a:pt x="229818" y="122811"/>
                    <a:pt x="415146" y="230539"/>
                    <a:pt x="600436" y="338045"/>
                  </a:cubicBezTo>
                  <a:cubicBezTo>
                    <a:pt x="643193" y="360666"/>
                    <a:pt x="668949" y="406037"/>
                    <a:pt x="666444" y="454345"/>
                  </a:cubicBezTo>
                  <a:cubicBezTo>
                    <a:pt x="665015" y="572550"/>
                    <a:pt x="665968" y="690851"/>
                    <a:pt x="666444" y="809056"/>
                  </a:cubicBezTo>
                  <a:lnTo>
                    <a:pt x="666444" y="845918"/>
                  </a:lnTo>
                  <a:cubicBezTo>
                    <a:pt x="684351" y="845156"/>
                    <a:pt x="689876" y="833726"/>
                    <a:pt x="697591" y="826106"/>
                  </a:cubicBezTo>
                  <a:cubicBezTo>
                    <a:pt x="778268" y="745048"/>
                    <a:pt x="860183" y="664752"/>
                    <a:pt x="940193" y="582075"/>
                  </a:cubicBezTo>
                  <a:cubicBezTo>
                    <a:pt x="983722" y="536736"/>
                    <a:pt x="1031061" y="522544"/>
                    <a:pt x="1092593" y="539499"/>
                  </a:cubicBezTo>
                  <a:cubicBezTo>
                    <a:pt x="1294999" y="595887"/>
                    <a:pt x="1498739" y="650179"/>
                    <a:pt x="1702193" y="704186"/>
                  </a:cubicBezTo>
                  <a:cubicBezTo>
                    <a:pt x="1753342" y="717711"/>
                    <a:pt x="1787060" y="747239"/>
                    <a:pt x="1800967" y="798674"/>
                  </a:cubicBezTo>
                  <a:cubicBezTo>
                    <a:pt x="1856688" y="1004890"/>
                    <a:pt x="1911743" y="1211106"/>
                    <a:pt x="1968130" y="1416751"/>
                  </a:cubicBezTo>
                  <a:cubicBezTo>
                    <a:pt x="1985657" y="1480092"/>
                    <a:pt x="1972226" y="1529432"/>
                    <a:pt x="1924601" y="1574961"/>
                  </a:cubicBezTo>
                  <a:cubicBezTo>
                    <a:pt x="1844115" y="1651828"/>
                    <a:pt x="1766867" y="1732029"/>
                    <a:pt x="1688381" y="1810991"/>
                  </a:cubicBezTo>
                  <a:cubicBezTo>
                    <a:pt x="1679618" y="1819754"/>
                    <a:pt x="1671427" y="1829184"/>
                    <a:pt x="1662664" y="1838709"/>
                  </a:cubicBezTo>
                  <a:cubicBezTo>
                    <a:pt x="1674665" y="1850901"/>
                    <a:pt x="1688000" y="1846138"/>
                    <a:pt x="1699716" y="1846233"/>
                  </a:cubicBezTo>
                  <a:cubicBezTo>
                    <a:pt x="1808682" y="1846233"/>
                    <a:pt x="1917648" y="1847567"/>
                    <a:pt x="2026614" y="1846233"/>
                  </a:cubicBezTo>
                  <a:cubicBezTo>
                    <a:pt x="2098338" y="1845281"/>
                    <a:pt x="2148249" y="1869855"/>
                    <a:pt x="2184824" y="1937102"/>
                  </a:cubicBezTo>
                  <a:cubicBezTo>
                    <a:pt x="2274740" y="2102361"/>
                    <a:pt x="2371610" y="2263714"/>
                    <a:pt x="2465622" y="2426687"/>
                  </a:cubicBezTo>
                  <a:cubicBezTo>
                    <a:pt x="2475147" y="2442594"/>
                    <a:pt x="2483052" y="2459072"/>
                    <a:pt x="2492482" y="2474788"/>
                  </a:cubicBezTo>
                  <a:cubicBezTo>
                    <a:pt x="2522962" y="2525271"/>
                    <a:pt x="2518485" y="2574324"/>
                    <a:pt x="2489243" y="2624140"/>
                  </a:cubicBezTo>
                  <a:close/>
                  <a:moveTo>
                    <a:pt x="1027" y="1331312"/>
                  </a:moveTo>
                  <a:lnTo>
                    <a:pt x="-306" y="1332169"/>
                  </a:lnTo>
                  <a:lnTo>
                    <a:pt x="-306" y="1297689"/>
                  </a:lnTo>
                  <a:lnTo>
                    <a:pt x="8743" y="1292736"/>
                  </a:lnTo>
                  <a:cubicBezTo>
                    <a:pt x="140950" y="1217107"/>
                    <a:pt x="272490" y="1140336"/>
                    <a:pt x="404887" y="1064707"/>
                  </a:cubicBezTo>
                  <a:cubicBezTo>
                    <a:pt x="424890" y="1053277"/>
                    <a:pt x="429843" y="1038037"/>
                    <a:pt x="429843" y="1017082"/>
                  </a:cubicBezTo>
                  <a:cubicBezTo>
                    <a:pt x="429395" y="859920"/>
                    <a:pt x="429395" y="702757"/>
                    <a:pt x="429843" y="545595"/>
                  </a:cubicBezTo>
                  <a:cubicBezTo>
                    <a:pt x="431758" y="524763"/>
                    <a:pt x="420670" y="504899"/>
                    <a:pt x="401935" y="495588"/>
                  </a:cubicBezTo>
                  <a:cubicBezTo>
                    <a:pt x="268585" y="419388"/>
                    <a:pt x="136378" y="341474"/>
                    <a:pt x="3504" y="264702"/>
                  </a:cubicBezTo>
                  <a:lnTo>
                    <a:pt x="-401" y="262512"/>
                  </a:lnTo>
                  <a:lnTo>
                    <a:pt x="-401" y="225364"/>
                  </a:lnTo>
                  <a:cubicBezTo>
                    <a:pt x="12858" y="237533"/>
                    <a:pt x="27764" y="247763"/>
                    <a:pt x="43890" y="255749"/>
                  </a:cubicBezTo>
                  <a:cubicBezTo>
                    <a:pt x="176097" y="324138"/>
                    <a:pt x="302018" y="404720"/>
                    <a:pt x="431176" y="478920"/>
                  </a:cubicBezTo>
                  <a:cubicBezTo>
                    <a:pt x="450084" y="487716"/>
                    <a:pt x="461495" y="507380"/>
                    <a:pt x="459751" y="528164"/>
                  </a:cubicBezTo>
                  <a:cubicBezTo>
                    <a:pt x="458990" y="695804"/>
                    <a:pt x="458990" y="863412"/>
                    <a:pt x="459751" y="1030989"/>
                  </a:cubicBezTo>
                  <a:cubicBezTo>
                    <a:pt x="459751" y="1053944"/>
                    <a:pt x="453465" y="1069089"/>
                    <a:pt x="432510" y="1081376"/>
                  </a:cubicBezTo>
                  <a:cubicBezTo>
                    <a:pt x="288301" y="1164053"/>
                    <a:pt x="145236" y="1248825"/>
                    <a:pt x="1027" y="1331312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9" name="Google Shape;16983;p11">
            <a:extLst>
              <a:ext uri="{FF2B5EF4-FFF2-40B4-BE49-F238E27FC236}">
                <a16:creationId xmlns:a16="http://schemas.microsoft.com/office/drawing/2014/main" id="{14AE5B47-D077-4B09-9BD3-C6627B513A8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81000" y="187206"/>
            <a:ext cx="10668000" cy="73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>
              <a:lnSpc>
                <a:spcPct val="90000"/>
              </a:lnSpc>
              <a:buClr>
                <a:srgbClr val="016E6C"/>
              </a:buClr>
              <a:buSzPts val="2800"/>
              <a:buFont typeface="Sakkal Majalla"/>
              <a:buNone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0747032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B6D40A9-9E2E-4B6B-8B0D-D201B8DA99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1015435"/>
              </p:ext>
            </p:extLst>
          </p:nvPr>
        </p:nvGraphicFramePr>
        <p:xfrm>
          <a:off x="2119" y="1589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B6D40A9-9E2E-4B6B-8B0D-D201B8DA99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E542AC4-6AB3-4930-AF0A-D1AEC7AF705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211667" cy="15875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667" b="0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75735" y="1520827"/>
            <a:ext cx="11040535" cy="249299"/>
          </a:xfrm>
          <a:ln>
            <a:noFill/>
          </a:ln>
        </p:spPr>
        <p:txBody>
          <a:bodyPr/>
          <a:lstStyle>
            <a:lvl1pPr marL="0" indent="0">
              <a:buFont typeface="Arial" pitchFamily="34" charset="0"/>
              <a:buNone/>
              <a:defRPr sz="1800" b="1" baseline="0"/>
            </a:lvl1pPr>
            <a:lvl2pPr marL="347463" indent="-182875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20" indent="-137157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Divider subsections her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1E0FAF9E-AAAB-46F6-8309-245E52CB09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14658220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AndText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762304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54C3A91-5A88-6F49-B31C-7C3C6EB2A6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9000" y="381000"/>
            <a:ext cx="3810000" cy="374650"/>
          </a:xfrm>
        </p:spPr>
        <p:txBody>
          <a:bodyPr/>
          <a:lstStyle>
            <a:lvl1pPr marL="0" inden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ct val="0"/>
              </a:spcBef>
              <a:spcAft>
                <a:spcPct val="0"/>
              </a:spcAft>
              <a:buNone/>
              <a:defRPr sz="1400" b="1"/>
            </a:lvl2pPr>
            <a:lvl3pPr marL="0" indent="0">
              <a:spcBef>
                <a:spcPct val="0"/>
              </a:spcBef>
              <a:spcAft>
                <a:spcPct val="0"/>
              </a:spcAft>
              <a:buNone/>
              <a:defRPr/>
            </a:lvl3pPr>
            <a:lvl4pPr marL="0" indent="0">
              <a:spcBef>
                <a:spcPct val="0"/>
              </a:spcBef>
              <a:spcAft>
                <a:spcPct val="0"/>
              </a:spcAft>
              <a:buNone/>
              <a:defRPr/>
            </a:lvl4pPr>
            <a:lvl5pPr marL="0" indent="0">
              <a:spcBef>
                <a:spcPct val="0"/>
              </a:spcBef>
              <a:spcAft>
                <a:spcPct val="0"/>
              </a:spcAft>
              <a:buNone/>
              <a:defRPr/>
            </a:lvl5pPr>
          </a:lstStyle>
          <a:p>
            <a:pPr lvl="0"/>
            <a:r>
              <a:rPr lang="en-GB"/>
              <a:t>Heading: Make your point.</a:t>
            </a:r>
          </a:p>
          <a:p>
            <a:pPr lvl="1"/>
            <a:r>
              <a:rPr lang="en-GB"/>
              <a:t>Sub-heading: Add supporting detail.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5A75C044-EF0B-6A4F-907C-515927B913F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620000" y="381000"/>
            <a:ext cx="4191000" cy="374650"/>
          </a:xfrm>
        </p:spPr>
        <p:txBody>
          <a:bodyPr/>
          <a:lstStyle>
            <a:lvl1pPr marL="0" inden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ct val="0"/>
              </a:spcBef>
              <a:spcAft>
                <a:spcPct val="0"/>
              </a:spcAft>
              <a:buNone/>
              <a:defRPr sz="1400" b="1"/>
            </a:lvl2pPr>
            <a:lvl3pPr marL="0" indent="0">
              <a:spcBef>
                <a:spcPct val="0"/>
              </a:spcBef>
              <a:spcAft>
                <a:spcPct val="0"/>
              </a:spcAft>
              <a:buNone/>
              <a:defRPr/>
            </a:lvl3pPr>
            <a:lvl4pPr marL="0" indent="0">
              <a:spcBef>
                <a:spcPct val="0"/>
              </a:spcBef>
              <a:spcAft>
                <a:spcPct val="0"/>
              </a:spcAft>
              <a:buNone/>
              <a:defRPr/>
            </a:lvl4pPr>
            <a:lvl5pPr marL="0" indent="0">
              <a:spcBef>
                <a:spcPct val="0"/>
              </a:spcBef>
              <a:spcAft>
                <a:spcPct val="0"/>
              </a:spcAft>
              <a:buNone/>
              <a:defRPr/>
            </a:lvl5pPr>
          </a:lstStyle>
          <a:p>
            <a:pPr lvl="0"/>
            <a:r>
              <a:rPr lang="en-GB"/>
              <a:t>Heading: Make your point.</a:t>
            </a:r>
          </a:p>
          <a:p>
            <a:pPr lvl="1"/>
            <a:r>
              <a:rPr lang="en-GB"/>
              <a:t>Sub-heading: Add supporting detail.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25C4D7CF-6868-C642-B298-65F96507D5DD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429000" y="1143000"/>
            <a:ext cx="3810000" cy="4949825"/>
          </a:xfrm>
        </p:spPr>
        <p:txBody>
          <a:bodyPr tIns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noProof="0"/>
              <a:t>This is where you make your case with relevant evidence and information. Keep sentences concise. Avoid jargon and repetition.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2878B453-1C2F-7042-9F43-39BF515D313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7620000" y="1143000"/>
            <a:ext cx="4191000" cy="4949825"/>
          </a:xfrm>
        </p:spPr>
        <p:txBody>
          <a:bodyPr tIns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noProof="0"/>
              <a:t>This is where you make your case with relevant evidence and information. Keep sentences concise. Avoid jargon and repetition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B0940F-7986-44EB-815A-44B573162D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06611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43525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GB"/>
              <a:t>Key message. If the audience reads just this, it will be enough. Make every word count. Say it like you would in the room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4FEF0F-449D-494E-B003-BA0DE42F61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1001" y="1905000"/>
            <a:ext cx="5334000" cy="41878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DA243C-D223-024A-A211-1CD96C9037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76999" y="1905000"/>
            <a:ext cx="5334001" cy="41878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420353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>
          <a:xfrm>
            <a:off x="2867430" y="-1587"/>
            <a:ext cx="322857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3054350" cy="1661993"/>
          </a:xfrm>
        </p:spPr>
        <p:txBody>
          <a:bodyPr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en-GB"/>
              <a:t>Key message. If the audience reads just this, it will be enough. Make every word count. Say it like you would in the room.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D9B22EF-051C-6641-8F7F-89A2A4B7EB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1001" y="2674577"/>
            <a:ext cx="5334000" cy="387798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ct val="0"/>
              </a:spcBef>
              <a:spcAft>
                <a:spcPct val="0"/>
              </a:spcAft>
              <a:buNone/>
              <a:defRPr sz="1400" b="1"/>
            </a:lvl2pPr>
            <a:lvl3pPr marL="0" indent="0">
              <a:spcBef>
                <a:spcPct val="0"/>
              </a:spcBef>
              <a:spcAft>
                <a:spcPct val="0"/>
              </a:spcAft>
              <a:buNone/>
              <a:defRPr/>
            </a:lvl3pPr>
            <a:lvl4pPr marL="0" indent="0">
              <a:spcBef>
                <a:spcPct val="0"/>
              </a:spcBef>
              <a:spcAft>
                <a:spcPct val="0"/>
              </a:spcAft>
              <a:buNone/>
              <a:defRPr/>
            </a:lvl4pPr>
            <a:lvl5pPr marL="0" indent="0">
              <a:spcBef>
                <a:spcPct val="0"/>
              </a:spcBef>
              <a:spcAft>
                <a:spcPct val="0"/>
              </a:spcAft>
              <a:buNone/>
              <a:defRPr/>
            </a:lvl5pPr>
          </a:lstStyle>
          <a:p>
            <a:pPr lvl="0"/>
            <a:r>
              <a:rPr lang="en-GB"/>
              <a:t>Heading: Make your point.</a:t>
            </a:r>
          </a:p>
          <a:p>
            <a:pPr lvl="1"/>
            <a:r>
              <a:rPr lang="en-GB"/>
              <a:t>Sub-heading: Add supporting detail.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399D3F24-168F-0048-B757-0FF955AB95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6999" y="2674577"/>
            <a:ext cx="5330825" cy="387798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ct val="0"/>
              </a:spcBef>
              <a:spcAft>
                <a:spcPct val="0"/>
              </a:spcAft>
              <a:buNone/>
              <a:defRPr sz="1400" b="1"/>
            </a:lvl2pPr>
            <a:lvl3pPr marL="0" indent="0">
              <a:spcBef>
                <a:spcPct val="0"/>
              </a:spcBef>
              <a:spcAft>
                <a:spcPct val="0"/>
              </a:spcAft>
              <a:buNone/>
              <a:defRPr/>
            </a:lvl3pPr>
            <a:lvl4pPr marL="0" indent="0">
              <a:spcBef>
                <a:spcPct val="0"/>
              </a:spcBef>
              <a:spcAft>
                <a:spcPct val="0"/>
              </a:spcAft>
              <a:buNone/>
              <a:defRPr/>
            </a:lvl4pPr>
            <a:lvl5pPr marL="0" indent="0">
              <a:spcBef>
                <a:spcPct val="0"/>
              </a:spcBef>
              <a:spcAft>
                <a:spcPct val="0"/>
              </a:spcAft>
              <a:buNone/>
              <a:defRPr/>
            </a:lvl5pPr>
          </a:lstStyle>
          <a:p>
            <a:pPr lvl="0"/>
            <a:r>
              <a:rPr lang="en-GB"/>
              <a:t>Heading: Make your point.</a:t>
            </a:r>
          </a:p>
          <a:p>
            <a:pPr lvl="1"/>
            <a:r>
              <a:rPr lang="en-GB"/>
              <a:t>Sub-heading: Add supporting detail.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03E6240C-8A72-5E4B-AB37-5294174930C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0" y="381000"/>
            <a:ext cx="1896127" cy="190023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/>
              <a:t>Click to insert picture</a:t>
            </a:r>
          </a:p>
        </p:txBody>
      </p:sp>
      <p:sp>
        <p:nvSpPr>
          <p:cNvPr id="24" name="Picture Placeholder 21">
            <a:extLst>
              <a:ext uri="{FF2B5EF4-FFF2-40B4-BE49-F238E27FC236}">
                <a16:creationId xmlns:a16="http://schemas.microsoft.com/office/drawing/2014/main" id="{98274983-141A-0E4E-9962-52D8DCCA7EF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901237" y="381000"/>
            <a:ext cx="1906587" cy="190023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/>
              <a:t>Click to insert picture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B95D0E9-C4E7-4A4E-8FC1-1B47E3F4358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81000" y="3429000"/>
            <a:ext cx="5334000" cy="2666999"/>
          </a:xfrm>
        </p:spPr>
        <p:txBody>
          <a:bodyPr tIns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16">
            <a:extLst>
              <a:ext uri="{FF2B5EF4-FFF2-40B4-BE49-F238E27FC236}">
                <a16:creationId xmlns:a16="http://schemas.microsoft.com/office/drawing/2014/main" id="{D15AF06C-0067-9540-9FEA-E269C3D5CFD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476999" y="3429000"/>
            <a:ext cx="5330825" cy="2666999"/>
          </a:xfrm>
        </p:spPr>
        <p:txBody>
          <a:bodyPr tIns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8640110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>
          <a:xfrm>
            <a:off x="2867430" y="-1587"/>
            <a:ext cx="322857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1000"/>
            <a:ext cx="5334000" cy="830997"/>
          </a:xfrm>
        </p:spPr>
        <p:txBody>
          <a:bodyPr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en-GB"/>
              <a:t>Key message. If the audience reads just this, it will be enough. Make every word count. Say it like you would in the room.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DA243C-D223-024A-A211-1CD96C9037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77000" y="1143000"/>
            <a:ext cx="5334000" cy="4949825"/>
          </a:xfrm>
        </p:spPr>
        <p:txBody>
          <a:bodyPr tIns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D9B22EF-051C-6641-8F7F-89A2A4B7EB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1001" y="2286000"/>
            <a:ext cx="5334000" cy="379539"/>
          </a:xfrm>
        </p:spPr>
        <p:txBody>
          <a:bodyPr/>
          <a:lstStyle>
            <a:lvl1pPr marL="0" inden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ct val="0"/>
              </a:spcBef>
              <a:spcAft>
                <a:spcPct val="0"/>
              </a:spcAft>
              <a:buNone/>
              <a:defRPr sz="1400" b="1"/>
            </a:lvl2pPr>
            <a:lvl3pPr marL="0" indent="0">
              <a:spcBef>
                <a:spcPct val="0"/>
              </a:spcBef>
              <a:spcAft>
                <a:spcPct val="0"/>
              </a:spcAft>
              <a:buNone/>
              <a:defRPr/>
            </a:lvl3pPr>
            <a:lvl4pPr marL="0" indent="0">
              <a:spcBef>
                <a:spcPct val="0"/>
              </a:spcBef>
              <a:spcAft>
                <a:spcPct val="0"/>
              </a:spcAft>
              <a:buNone/>
              <a:defRPr/>
            </a:lvl4pPr>
            <a:lvl5pPr marL="0" indent="0">
              <a:spcBef>
                <a:spcPct val="0"/>
              </a:spcBef>
              <a:spcAft>
                <a:spcPct val="0"/>
              </a:spcAft>
              <a:buNone/>
              <a:defRPr/>
            </a:lvl5pPr>
          </a:lstStyle>
          <a:p>
            <a:pPr lvl="0"/>
            <a:r>
              <a:rPr lang="en-GB"/>
              <a:t>Heading: Make your point.</a:t>
            </a:r>
          </a:p>
          <a:p>
            <a:pPr lvl="1"/>
            <a:r>
              <a:rPr lang="en-GB"/>
              <a:t>Sub-heading: Add supporting detail.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399D3F24-168F-0048-B757-0FF955AB95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6999" y="381000"/>
            <a:ext cx="5334001" cy="374650"/>
          </a:xfrm>
        </p:spPr>
        <p:txBody>
          <a:bodyPr/>
          <a:lstStyle>
            <a:lvl1pPr marL="0" inden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ct val="0"/>
              </a:spcBef>
              <a:spcAft>
                <a:spcPct val="0"/>
              </a:spcAft>
              <a:buNone/>
              <a:defRPr sz="1400" b="1"/>
            </a:lvl2pPr>
            <a:lvl3pPr marL="0" indent="0">
              <a:spcBef>
                <a:spcPct val="0"/>
              </a:spcBef>
              <a:spcAft>
                <a:spcPct val="0"/>
              </a:spcAft>
              <a:buNone/>
              <a:defRPr/>
            </a:lvl3pPr>
            <a:lvl4pPr marL="0" indent="0">
              <a:spcBef>
                <a:spcPct val="0"/>
              </a:spcBef>
              <a:spcAft>
                <a:spcPct val="0"/>
              </a:spcAft>
              <a:buNone/>
              <a:defRPr/>
            </a:lvl4pPr>
            <a:lvl5pPr marL="0" indent="0">
              <a:spcBef>
                <a:spcPct val="0"/>
              </a:spcBef>
              <a:spcAft>
                <a:spcPct val="0"/>
              </a:spcAft>
              <a:buNone/>
              <a:defRPr/>
            </a:lvl5pPr>
          </a:lstStyle>
          <a:p>
            <a:pPr lvl="0"/>
            <a:r>
              <a:rPr lang="en-GB"/>
              <a:t>Heading: Make your point.</a:t>
            </a:r>
          </a:p>
          <a:p>
            <a:pPr lvl="1"/>
            <a:r>
              <a:rPr lang="en-GB"/>
              <a:t>Sub-heading: Add supporting detail.</a:t>
            </a:r>
          </a:p>
        </p:txBody>
      </p:sp>
      <p:sp>
        <p:nvSpPr>
          <p:cNvPr id="30" name="Text Placeholder 16">
            <a:extLst>
              <a:ext uri="{FF2B5EF4-FFF2-40B4-BE49-F238E27FC236}">
                <a16:creationId xmlns:a16="http://schemas.microsoft.com/office/drawing/2014/main" id="{E26E4537-E8EA-A44C-81E4-2AA24ECCA08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81001" y="3048000"/>
            <a:ext cx="2286000" cy="3044825"/>
          </a:xfrm>
        </p:spPr>
        <p:txBody>
          <a:bodyPr tIns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F9A2B3B9-BB65-4C08-B029-229E91D03C9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429000" y="3048000"/>
            <a:ext cx="2286000" cy="3044825"/>
          </a:xfrm>
        </p:spPr>
        <p:txBody>
          <a:bodyPr tIns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2848935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lleng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5897343-393D-0E44-A97B-2079B348B1F9}"/>
              </a:ext>
            </a:extLst>
          </p:cNvPr>
          <p:cNvSpPr/>
          <p:nvPr userDrawn="1"/>
        </p:nvSpPr>
        <p:spPr>
          <a:xfrm>
            <a:off x="3044825" y="0"/>
            <a:ext cx="4575175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631238-F440-4B1F-8D7B-809C61CB62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Key message. </a:t>
            </a:r>
            <a:br>
              <a:rPr lang="en-GB"/>
            </a:br>
            <a:r>
              <a:rPr lang="en-GB"/>
              <a:t>If the audience reads just this, it will be enough. Make every word count. Say it like you would in the room.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D95ABA3D-BEC2-4D38-9AFA-4954F306F2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04175" y="381000"/>
            <a:ext cx="3806826" cy="370199"/>
          </a:xfrm>
        </p:spPr>
        <p:txBody>
          <a:bodyPr/>
          <a:lstStyle>
            <a:lvl1pPr marL="0" inden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ct val="0"/>
              </a:spcBef>
              <a:spcAft>
                <a:spcPct val="0"/>
              </a:spcAft>
              <a:buNone/>
              <a:defRPr sz="1800" b="1"/>
            </a:lvl2pPr>
            <a:lvl3pPr marL="0" indent="0">
              <a:spcBef>
                <a:spcPct val="0"/>
              </a:spcBef>
              <a:spcAft>
                <a:spcPct val="0"/>
              </a:spcAft>
              <a:buNone/>
              <a:defRPr/>
            </a:lvl3pPr>
            <a:lvl4pPr marL="0" indent="0">
              <a:spcBef>
                <a:spcPct val="0"/>
              </a:spcBef>
              <a:spcAft>
                <a:spcPct val="0"/>
              </a:spcAft>
              <a:buNone/>
              <a:defRPr/>
            </a:lvl4pPr>
            <a:lvl5pPr marL="0" indent="0">
              <a:spcBef>
                <a:spcPct val="0"/>
              </a:spcBef>
              <a:spcAft>
                <a:spcPct val="0"/>
              </a:spcAft>
              <a:buNone/>
              <a:defRPr/>
            </a:lvl5pPr>
          </a:lstStyle>
          <a:p>
            <a:pPr lvl="0"/>
            <a:r>
              <a:rPr lang="en-GB"/>
              <a:t>Heading: Make your point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D8852F4-3A40-41CF-8793-5F648FBC7E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29000" y="381000"/>
            <a:ext cx="3810000" cy="370199"/>
          </a:xfrm>
        </p:spPr>
        <p:txBody>
          <a:bodyPr/>
          <a:lstStyle>
            <a:lvl1pPr marL="0" inden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ct val="0"/>
              </a:spcBef>
              <a:spcAft>
                <a:spcPct val="0"/>
              </a:spcAft>
              <a:buNone/>
              <a:defRPr sz="1800" b="1"/>
            </a:lvl2pPr>
            <a:lvl3pPr marL="0" indent="0">
              <a:spcBef>
                <a:spcPct val="0"/>
              </a:spcBef>
              <a:spcAft>
                <a:spcPct val="0"/>
              </a:spcAft>
              <a:buNone/>
              <a:defRPr/>
            </a:lvl3pPr>
            <a:lvl4pPr marL="0" indent="0">
              <a:spcBef>
                <a:spcPct val="0"/>
              </a:spcBef>
              <a:spcAft>
                <a:spcPct val="0"/>
              </a:spcAft>
              <a:buNone/>
              <a:defRPr/>
            </a:lvl4pPr>
            <a:lvl5pPr marL="0" indent="0">
              <a:spcBef>
                <a:spcPct val="0"/>
              </a:spcBef>
              <a:spcAft>
                <a:spcPct val="0"/>
              </a:spcAft>
              <a:buNone/>
              <a:defRPr/>
            </a:lvl5pPr>
          </a:lstStyle>
          <a:p>
            <a:pPr lvl="0"/>
            <a:r>
              <a:rPr lang="en-GB"/>
              <a:t>Heading: Make your point.</a:t>
            </a:r>
          </a:p>
        </p:txBody>
      </p:sp>
    </p:spTree>
    <p:extLst>
      <p:ext uri="{BB962C8B-B14F-4D97-AF65-F5344CB8AC3E}">
        <p14:creationId xmlns:p14="http://schemas.microsoft.com/office/powerpoint/2010/main" val="212813395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CD7508A2-A0AF-4811-ACA1-FC84D131531A}"/>
              </a:ext>
            </a:extLst>
          </p:cNvPr>
          <p:cNvSpPr/>
          <p:nvPr userDrawn="1"/>
        </p:nvSpPr>
        <p:spPr>
          <a:xfrm>
            <a:off x="-7168" y="3429000"/>
            <a:ext cx="6101581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AA1EFBD-66C8-4081-AADF-2B4A352FE64D}"/>
              </a:ext>
            </a:extLst>
          </p:cNvPr>
          <p:cNvSpPr/>
          <p:nvPr userDrawn="1"/>
        </p:nvSpPr>
        <p:spPr>
          <a:xfrm>
            <a:off x="0" y="-1587"/>
            <a:ext cx="6096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Picture Placeholder 21">
            <a:extLst>
              <a:ext uri="{FF2B5EF4-FFF2-40B4-BE49-F238E27FC236}">
                <a16:creationId xmlns:a16="http://schemas.microsoft.com/office/drawing/2014/main" id="{3448625E-017A-4951-9ED5-25641345A0F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044825" y="-1587"/>
            <a:ext cx="3051175" cy="34305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/>
              <a:t>Click to insert picture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3F9026C0-8F42-4CC3-A918-0320C9FEE43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7001" y="381000"/>
            <a:ext cx="5334000" cy="374648"/>
          </a:xfrm>
        </p:spPr>
        <p:txBody>
          <a:bodyPr wrap="square" lIns="0" tIns="0" rIns="0" bIns="0" anchorCtr="0">
            <a:noAutofit/>
          </a:bodyPr>
          <a:lstStyle>
            <a:lvl1pPr marL="0" inden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ct val="0"/>
              </a:spcBef>
              <a:spcAft>
                <a:spcPct val="0"/>
              </a:spcAft>
              <a:buNone/>
              <a:defRPr b="1"/>
            </a:lvl2pPr>
            <a:lvl3pPr marL="0" indent="0">
              <a:spcBef>
                <a:spcPct val="0"/>
              </a:spcBef>
              <a:spcAft>
                <a:spcPct val="0"/>
              </a:spcAft>
              <a:buNone/>
              <a:defRPr/>
            </a:lvl3pPr>
            <a:lvl4pPr marL="0" indent="0">
              <a:spcBef>
                <a:spcPct val="0"/>
              </a:spcBef>
              <a:spcAft>
                <a:spcPct val="0"/>
              </a:spcAft>
              <a:buNone/>
              <a:defRPr/>
            </a:lvl4pPr>
            <a:lvl5pPr marL="0" indent="0">
              <a:spcBef>
                <a:spcPct val="0"/>
              </a:spcBef>
              <a:spcAft>
                <a:spcPct val="0"/>
              </a:spcAft>
              <a:buNone/>
              <a:defRPr/>
            </a:lvl5pPr>
          </a:lstStyle>
          <a:p>
            <a:pPr lvl="0"/>
            <a:r>
              <a:rPr lang="en-GB"/>
              <a:t>Selected consulting engagement experience (X years)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D364477-0314-4F10-9D10-E2EF9653C5E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80999" y="3638446"/>
            <a:ext cx="2667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ct val="0"/>
              </a:spcBef>
              <a:spcAft>
                <a:spcPct val="0"/>
              </a:spcAft>
              <a:buNone/>
              <a:defRPr b="1"/>
            </a:lvl2pPr>
            <a:lvl3pPr marL="0" indent="0">
              <a:spcBef>
                <a:spcPct val="0"/>
              </a:spcBef>
              <a:spcAft>
                <a:spcPct val="0"/>
              </a:spcAft>
              <a:buNone/>
              <a:defRPr/>
            </a:lvl3pPr>
            <a:lvl4pPr marL="0" indent="0">
              <a:spcBef>
                <a:spcPct val="0"/>
              </a:spcBef>
              <a:spcAft>
                <a:spcPct val="0"/>
              </a:spcAft>
              <a:buNone/>
              <a:defRPr/>
            </a:lvl4pPr>
            <a:lvl5pPr marL="0" indent="0">
              <a:spcBef>
                <a:spcPct val="0"/>
              </a:spcBef>
              <a:spcAft>
                <a:spcPct val="0"/>
              </a:spcAft>
              <a:buNone/>
              <a:defRPr/>
            </a:lvl5pPr>
          </a:lstStyle>
          <a:p>
            <a:pPr lvl="0"/>
            <a:r>
              <a:rPr lang="en-GB"/>
              <a:t>Areas of Expertis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F7FD24E3-E069-4B35-9C18-F463735BC89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428999" y="3638446"/>
            <a:ext cx="2286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ct val="0"/>
              </a:spcBef>
              <a:spcAft>
                <a:spcPct val="0"/>
              </a:spcAft>
              <a:buNone/>
              <a:defRPr b="1"/>
            </a:lvl2pPr>
            <a:lvl3pPr marL="0" indent="0">
              <a:spcBef>
                <a:spcPct val="0"/>
              </a:spcBef>
              <a:spcAft>
                <a:spcPct val="0"/>
              </a:spcAft>
              <a:buNone/>
              <a:defRPr/>
            </a:lvl3pPr>
            <a:lvl4pPr marL="0" indent="0">
              <a:spcBef>
                <a:spcPct val="0"/>
              </a:spcBef>
              <a:spcAft>
                <a:spcPct val="0"/>
              </a:spcAft>
              <a:buNone/>
              <a:defRPr/>
            </a:lvl4pPr>
            <a:lvl5pPr marL="0" indent="0">
              <a:spcBef>
                <a:spcPct val="0"/>
              </a:spcBef>
              <a:spcAft>
                <a:spcPct val="0"/>
              </a:spcAft>
              <a:buNone/>
              <a:defRPr/>
            </a:lvl5pPr>
          </a:lstStyle>
          <a:p>
            <a:pPr lvl="0"/>
            <a:r>
              <a:rPr lang="en-GB"/>
              <a:t>Educ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3B904A-F76F-4A89-9C9D-B0B0D1D3C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Surname Name</a:t>
            </a:r>
            <a:br>
              <a:rPr lang="en-GB"/>
            </a:br>
            <a:r>
              <a:rPr lang="en-GB" b="0"/>
              <a:t>Position, Office, Country</a:t>
            </a:r>
            <a:endParaRPr lang="en-GB"/>
          </a:p>
        </p:txBody>
      </p:sp>
      <p:grpSp>
        <p:nvGrpSpPr>
          <p:cNvPr id="35" name="Graphic 19">
            <a:extLst>
              <a:ext uri="{FF2B5EF4-FFF2-40B4-BE49-F238E27FC236}">
                <a16:creationId xmlns:a16="http://schemas.microsoft.com/office/drawing/2014/main" id="{0DF2BC8F-BD6E-4BED-A9DD-8DCAEA9A50D4}"/>
              </a:ext>
            </a:extLst>
          </p:cNvPr>
          <p:cNvGrpSpPr/>
          <p:nvPr userDrawn="1"/>
        </p:nvGrpSpPr>
        <p:grpSpPr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36" name="Freeform 21">
              <a:extLst>
                <a:ext uri="{FF2B5EF4-FFF2-40B4-BE49-F238E27FC236}">
                  <a16:creationId xmlns:a16="http://schemas.microsoft.com/office/drawing/2014/main" id="{AC1D5788-EC41-4A64-9CD3-6E3CB88E41EC}"/>
                </a:ext>
              </a:extLst>
            </p:cNvPr>
            <p:cNvSpPr/>
            <p:nvPr/>
          </p:nvSpPr>
          <p:spPr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Freeform 22">
              <a:extLst>
                <a:ext uri="{FF2B5EF4-FFF2-40B4-BE49-F238E27FC236}">
                  <a16:creationId xmlns:a16="http://schemas.microsoft.com/office/drawing/2014/main" id="{009902B4-2695-4527-B5C8-31F48F2A9654}"/>
                </a:ext>
              </a:extLst>
            </p:cNvPr>
            <p:cNvSpPr/>
            <p:nvPr/>
          </p:nvSpPr>
          <p:spPr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Freeform 23">
              <a:extLst>
                <a:ext uri="{FF2B5EF4-FFF2-40B4-BE49-F238E27FC236}">
                  <a16:creationId xmlns:a16="http://schemas.microsoft.com/office/drawing/2014/main" id="{D3AD1063-D2B8-4B6A-A86D-08AD8E37AAD7}"/>
                </a:ext>
              </a:extLst>
            </p:cNvPr>
            <p:cNvSpPr/>
            <p:nvPr/>
          </p:nvSpPr>
          <p:spPr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Freeform 24">
              <a:extLst>
                <a:ext uri="{FF2B5EF4-FFF2-40B4-BE49-F238E27FC236}">
                  <a16:creationId xmlns:a16="http://schemas.microsoft.com/office/drawing/2014/main" id="{27E78175-02A9-436A-96A2-9F5365F56578}"/>
                </a:ext>
              </a:extLst>
            </p:cNvPr>
            <p:cNvSpPr/>
            <p:nvPr/>
          </p:nvSpPr>
          <p:spPr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Freeform 25">
              <a:extLst>
                <a:ext uri="{FF2B5EF4-FFF2-40B4-BE49-F238E27FC236}">
                  <a16:creationId xmlns:a16="http://schemas.microsoft.com/office/drawing/2014/main" id="{17E9070A-F511-4A5B-9153-39FEE2463F81}"/>
                </a:ext>
              </a:extLst>
            </p:cNvPr>
            <p:cNvSpPr/>
            <p:nvPr/>
          </p:nvSpPr>
          <p:spPr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241166F2-3E56-4401-B77D-EB0307B39A0C}"/>
                </a:ext>
              </a:extLst>
            </p:cNvPr>
            <p:cNvSpPr/>
            <p:nvPr/>
          </p:nvSpPr>
          <p:spPr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1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5F257939-AA22-4BDE-B164-A41F0FA3F5A1}"/>
                </a:ext>
              </a:extLst>
            </p:cNvPr>
            <p:cNvSpPr/>
            <p:nvPr/>
          </p:nvSpPr>
          <p:spPr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BEAE6D84-B6DD-4EDD-AF9D-0557698E1334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80999" y="4014091"/>
            <a:ext cx="2666746" cy="2074529"/>
          </a:xfrm>
        </p:spPr>
        <p:txBody>
          <a:bodyPr/>
          <a:lstStyle>
            <a:lvl1pPr marL="171450" indent="-17145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/>
            </a:lvl1pPr>
            <a:lvl2pPr marL="357188" indent="-179388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/>
            </a:lvl2pPr>
            <a:lvl3pPr marL="538163" indent="-179388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defRPr/>
            </a:lvl3pPr>
            <a:lvl4pPr marL="3600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Content Placeholder 4">
            <a:extLst>
              <a:ext uri="{FF2B5EF4-FFF2-40B4-BE49-F238E27FC236}">
                <a16:creationId xmlns:a16="http://schemas.microsoft.com/office/drawing/2014/main" id="{5F7F1EA4-C814-480F-B003-45406D81DE96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3427396" y="4014091"/>
            <a:ext cx="2285783" cy="2074529"/>
          </a:xfrm>
        </p:spPr>
        <p:txBody>
          <a:bodyPr/>
          <a:lstStyle>
            <a:lvl1pPr marL="171450" indent="-17145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/>
            </a:lvl1pPr>
            <a:lvl2pPr marL="357188" indent="-179388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/>
            </a:lvl2pPr>
            <a:lvl3pPr marL="538163" indent="-179388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defRPr/>
            </a:lvl3pPr>
            <a:lvl4pPr marL="3600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Content Placeholder 4">
            <a:extLst>
              <a:ext uri="{FF2B5EF4-FFF2-40B4-BE49-F238E27FC236}">
                <a16:creationId xmlns:a16="http://schemas.microsoft.com/office/drawing/2014/main" id="{456734BC-EC09-4012-BD47-6165A89575FC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6477000" y="1143000"/>
            <a:ext cx="2286000" cy="4945620"/>
          </a:xfrm>
        </p:spPr>
        <p:txBody>
          <a:bodyPr/>
          <a:lstStyle>
            <a:lvl1pPr marL="171450" indent="-17145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/>
            </a:lvl1pPr>
            <a:lvl2pPr marL="357188" indent="-179388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/>
            </a:lvl2pPr>
            <a:lvl3pPr marL="538163" indent="-179388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defRPr/>
            </a:lvl3pPr>
            <a:lvl4pPr marL="3600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8" name="Content Placeholder 4">
            <a:extLst>
              <a:ext uri="{FF2B5EF4-FFF2-40B4-BE49-F238E27FC236}">
                <a16:creationId xmlns:a16="http://schemas.microsoft.com/office/drawing/2014/main" id="{E1879581-F0A3-47CC-B8BA-91D70E6D12AD}"/>
              </a:ext>
            </a:extLst>
          </p:cNvPr>
          <p:cNvSpPr>
            <a:spLocks noGrp="1"/>
          </p:cNvSpPr>
          <p:nvPr>
            <p:ph sz="quarter" idx="42"/>
          </p:nvPr>
        </p:nvSpPr>
        <p:spPr>
          <a:xfrm>
            <a:off x="9525000" y="1143000"/>
            <a:ext cx="2286000" cy="4945620"/>
          </a:xfrm>
        </p:spPr>
        <p:txBody>
          <a:bodyPr/>
          <a:lstStyle>
            <a:lvl1pPr marL="171450" indent="-17145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/>
            </a:lvl1pPr>
            <a:lvl2pPr marL="357188" indent="-179388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/>
            </a:lvl2pPr>
            <a:lvl3pPr marL="538163" indent="-179388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defRPr/>
            </a:lvl3pPr>
            <a:lvl4pPr marL="3600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3D7114F-F639-4ADE-A59A-1DE07A41E53F}"/>
              </a:ext>
            </a:extLst>
          </p:cNvPr>
          <p:cNvSpPr txBox="1"/>
          <p:nvPr userDrawn="1"/>
        </p:nvSpPr>
        <p:spPr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290680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7F5CAB5-F976-4C40-89AE-9A89E9C4AC4F}"/>
              </a:ext>
            </a:extLst>
          </p:cNvPr>
          <p:cNvSpPr/>
          <p:nvPr userDrawn="1"/>
        </p:nvSpPr>
        <p:spPr>
          <a:xfrm>
            <a:off x="3048002" y="0"/>
            <a:ext cx="304799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3B78D11-144A-4B42-AA51-7E5FE4BFDAC3}"/>
              </a:ext>
            </a:extLst>
          </p:cNvPr>
          <p:cNvSpPr/>
          <p:nvPr userDrawn="1"/>
        </p:nvSpPr>
        <p:spPr>
          <a:xfrm>
            <a:off x="6096000" y="0"/>
            <a:ext cx="3048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CF47EE3-F5CB-4E44-BC68-EC24C6779C1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048000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796EB4AD-659A-9A47-B141-976732FEBC0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96000" y="0"/>
            <a:ext cx="3048000" cy="2663825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19">
            <a:extLst>
              <a:ext uri="{FF2B5EF4-FFF2-40B4-BE49-F238E27FC236}">
                <a16:creationId xmlns:a16="http://schemas.microsoft.com/office/drawing/2014/main" id="{8DFD1BD5-98E0-0947-9140-940DFF97013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147359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4CBE62D-52E2-4C4C-AF6E-96D1E5707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9001" y="3048000"/>
            <a:ext cx="2285999" cy="3048000"/>
          </a:xfrm>
        </p:spPr>
        <p:txBody>
          <a:bodyPr/>
          <a:lstStyle>
            <a:lvl1pPr marL="0" inden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ct val="0"/>
              </a:spcBef>
              <a:spcAft>
                <a:spcPct val="0"/>
              </a:spcAft>
              <a:buNone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ct val="0"/>
              </a:spcAft>
              <a:buNone/>
              <a:defRPr b="1"/>
            </a:lvl3pPr>
            <a:lvl4pPr marL="180000" indent="-180000">
              <a:spcBef>
                <a:spcPct val="0"/>
              </a:spcBef>
              <a:spcAft>
                <a:spcPct val="0"/>
              </a:spcAft>
              <a:buFont typeface="System Font Regular"/>
              <a:buChar char="–"/>
              <a:defRPr/>
            </a:lvl4pPr>
            <a:lvl5pPr marL="360000" indent="-180000">
              <a:spcBef>
                <a:spcPct val="0"/>
              </a:spcBef>
              <a:spcAft>
                <a:spcPct val="0"/>
              </a:spcAft>
              <a:buFont typeface="System Font Regular"/>
              <a:buChar char="–"/>
              <a:defRPr/>
            </a:lvl5pPr>
          </a:lstStyle>
          <a:p>
            <a:pPr lvl="0"/>
            <a:r>
              <a:rPr lang="en-GB"/>
              <a:t>Name and Surname</a:t>
            </a:r>
          </a:p>
          <a:p>
            <a:pPr lvl="1"/>
            <a:r>
              <a:rPr lang="en-GB"/>
              <a:t>Job title and location second level</a:t>
            </a:r>
          </a:p>
          <a:p>
            <a:pPr lvl="2"/>
            <a:r>
              <a:rPr lang="en-GB"/>
              <a:t>Summary of experience third level</a:t>
            </a:r>
          </a:p>
          <a:p>
            <a:pPr lvl="3"/>
            <a:r>
              <a:rPr lang="en-GB"/>
              <a:t>Fourth level bullet</a:t>
            </a:r>
          </a:p>
          <a:p>
            <a:pPr lvl="4"/>
            <a:r>
              <a:rPr lang="en-GB"/>
              <a:t>Fifth level bullet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1C3C4FE2-D60A-3C44-A1A2-F63809BB1E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77001" y="3048000"/>
            <a:ext cx="2286000" cy="3048000"/>
          </a:xfrm>
        </p:spPr>
        <p:txBody>
          <a:bodyPr/>
          <a:lstStyle>
            <a:lvl1pPr marL="0" inden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ct val="0"/>
              </a:spcBef>
              <a:spcAft>
                <a:spcPct val="0"/>
              </a:spcAft>
              <a:buNone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ct val="0"/>
              </a:spcAft>
              <a:buNone/>
              <a:defRPr b="1"/>
            </a:lvl3pPr>
            <a:lvl4pPr marL="180000" indent="-180000">
              <a:spcBef>
                <a:spcPct val="0"/>
              </a:spcBef>
              <a:spcAft>
                <a:spcPct val="0"/>
              </a:spcAft>
              <a:buFont typeface="System Font Regular"/>
              <a:buChar char="–"/>
              <a:defRPr/>
            </a:lvl4pPr>
            <a:lvl5pPr marL="360000" indent="-180000">
              <a:spcBef>
                <a:spcPct val="0"/>
              </a:spcBef>
              <a:spcAft>
                <a:spcPct val="0"/>
              </a:spcAft>
              <a:buFont typeface="System Font Regular"/>
              <a:buChar char="–"/>
              <a:defRPr/>
            </a:lvl5pPr>
          </a:lstStyle>
          <a:p>
            <a:pPr lvl="0"/>
            <a:r>
              <a:rPr lang="en-GB"/>
              <a:t>Name and Surname</a:t>
            </a:r>
          </a:p>
          <a:p>
            <a:pPr lvl="1"/>
            <a:r>
              <a:rPr lang="en-GB"/>
              <a:t>Job title and location second level</a:t>
            </a:r>
          </a:p>
          <a:p>
            <a:pPr lvl="2"/>
            <a:r>
              <a:rPr lang="en-GB"/>
              <a:t>Summary of experience third level</a:t>
            </a:r>
          </a:p>
          <a:p>
            <a:pPr lvl="3"/>
            <a:r>
              <a:rPr lang="en-GB"/>
              <a:t>Fourth level bullet</a:t>
            </a:r>
          </a:p>
          <a:p>
            <a:pPr lvl="4"/>
            <a:r>
              <a:rPr lang="en-GB"/>
              <a:t>Fifth level bullet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39E6F826-10D9-8247-8889-29223C7F84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0" y="3048000"/>
            <a:ext cx="2289360" cy="3048000"/>
          </a:xfrm>
        </p:spPr>
        <p:txBody>
          <a:bodyPr/>
          <a:lstStyle>
            <a:lvl1pPr marL="0" inden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ct val="0"/>
              </a:spcBef>
              <a:spcAft>
                <a:spcPct val="0"/>
              </a:spcAft>
              <a:buNone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ct val="0"/>
              </a:spcAft>
              <a:buNone/>
              <a:defRPr b="1"/>
            </a:lvl3pPr>
            <a:lvl4pPr marL="180000" indent="-180000">
              <a:spcBef>
                <a:spcPct val="0"/>
              </a:spcBef>
              <a:spcAft>
                <a:spcPct val="0"/>
              </a:spcAft>
              <a:buFont typeface="System Font Regular"/>
              <a:buChar char="–"/>
              <a:defRPr/>
            </a:lvl4pPr>
            <a:lvl5pPr marL="360000" indent="-180000">
              <a:spcBef>
                <a:spcPct val="0"/>
              </a:spcBef>
              <a:spcAft>
                <a:spcPct val="0"/>
              </a:spcAft>
              <a:buFont typeface="System Font Regular"/>
              <a:buChar char="–"/>
              <a:defRPr/>
            </a:lvl5pPr>
          </a:lstStyle>
          <a:p>
            <a:pPr lvl="0"/>
            <a:r>
              <a:rPr lang="en-GB"/>
              <a:t>Name and Surname</a:t>
            </a:r>
          </a:p>
          <a:p>
            <a:pPr lvl="1"/>
            <a:r>
              <a:rPr lang="en-GB"/>
              <a:t>Job title and location second level</a:t>
            </a:r>
          </a:p>
          <a:p>
            <a:pPr lvl="2"/>
            <a:r>
              <a:rPr lang="en-GB"/>
              <a:t>Summary of experience third level</a:t>
            </a:r>
          </a:p>
          <a:p>
            <a:pPr lvl="3"/>
            <a:r>
              <a:rPr lang="en-GB"/>
              <a:t>Fourth level bullet</a:t>
            </a:r>
          </a:p>
          <a:p>
            <a:pPr lvl="4"/>
            <a:r>
              <a:rPr lang="en-GB"/>
              <a:t>Fifth level bulle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468541-A21A-46F7-AFC4-CBC98C325E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2285999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Key message. </a:t>
            </a:r>
            <a:br>
              <a:rPr lang="en-GB"/>
            </a:br>
            <a:r>
              <a:rPr lang="en-GB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92883974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66F4BDBA-8A7A-4151-9891-CE2FF8030BCB}"/>
              </a:ext>
            </a:extLst>
          </p:cNvPr>
          <p:cNvSpPr/>
          <p:nvPr userDrawn="1"/>
        </p:nvSpPr>
        <p:spPr>
          <a:xfrm>
            <a:off x="3048000" y="0"/>
            <a:ext cx="4572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A6D9F4-AFFE-40C2-A711-D5F9F9523EA2}"/>
              </a:ext>
            </a:extLst>
          </p:cNvPr>
          <p:cNvSpPr/>
          <p:nvPr userDrawn="1"/>
        </p:nvSpPr>
        <p:spPr>
          <a:xfrm>
            <a:off x="3048000" y="3429000"/>
            <a:ext cx="4572000" cy="3429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F887B0-D81F-4D6E-8490-01166A357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Key message. </a:t>
            </a:r>
            <a:br>
              <a:rPr lang="en-GB"/>
            </a:br>
            <a:r>
              <a:rPr lang="en-GB"/>
              <a:t>If the audience reads just this, it will be enough. Make every word count. Say it like you would in the room.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2F01B772-E707-4318-AFF4-D233B7291D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8973" y="381000"/>
            <a:ext cx="3810000" cy="357499"/>
          </a:xfrm>
        </p:spPr>
        <p:txBody>
          <a:bodyPr/>
          <a:lstStyle>
            <a:lvl1pPr marL="0" inden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ct val="0"/>
              </a:spcBef>
              <a:spcAft>
                <a:spcPct val="0"/>
              </a:spcAft>
              <a:buNone/>
              <a:defRPr sz="1800" b="1"/>
            </a:lvl2pPr>
            <a:lvl3pPr marL="0" indent="0">
              <a:spcBef>
                <a:spcPct val="0"/>
              </a:spcBef>
              <a:spcAft>
                <a:spcPct val="0"/>
              </a:spcAft>
              <a:buNone/>
              <a:defRPr/>
            </a:lvl3pPr>
            <a:lvl4pPr marL="0" indent="0">
              <a:spcBef>
                <a:spcPct val="0"/>
              </a:spcBef>
              <a:spcAft>
                <a:spcPct val="0"/>
              </a:spcAft>
              <a:buNone/>
              <a:defRPr/>
            </a:lvl4pPr>
            <a:lvl5pPr marL="0" indent="0">
              <a:spcBef>
                <a:spcPct val="0"/>
              </a:spcBef>
              <a:spcAft>
                <a:spcPct val="0"/>
              </a:spcAft>
              <a:buNone/>
              <a:defRPr/>
            </a:lvl5pPr>
          </a:lstStyle>
          <a:p>
            <a:pPr lvl="0"/>
            <a:r>
              <a:rPr lang="en-GB"/>
              <a:t>Situation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9F9E8AE9-DD63-4653-988B-3750118E13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73" y="3809999"/>
            <a:ext cx="3810000" cy="376971"/>
          </a:xfrm>
        </p:spPr>
        <p:txBody>
          <a:bodyPr/>
          <a:lstStyle>
            <a:lvl1pPr marL="0" inden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ct val="0"/>
              </a:spcBef>
              <a:spcAft>
                <a:spcPct val="0"/>
              </a:spcAft>
              <a:buNone/>
              <a:defRPr sz="1800" b="1"/>
            </a:lvl2pPr>
            <a:lvl3pPr marL="0" indent="0">
              <a:spcBef>
                <a:spcPct val="0"/>
              </a:spcBef>
              <a:spcAft>
                <a:spcPct val="0"/>
              </a:spcAft>
              <a:buNone/>
              <a:defRPr/>
            </a:lvl3pPr>
            <a:lvl4pPr marL="0" indent="0">
              <a:spcBef>
                <a:spcPct val="0"/>
              </a:spcBef>
              <a:spcAft>
                <a:spcPct val="0"/>
              </a:spcAft>
              <a:buNone/>
              <a:defRPr/>
            </a:lvl4pPr>
            <a:lvl5pPr marL="0" indent="0">
              <a:spcBef>
                <a:spcPct val="0"/>
              </a:spcBef>
              <a:spcAft>
                <a:spcPct val="0"/>
              </a:spcAft>
              <a:buNone/>
              <a:defRPr/>
            </a:lvl5pPr>
          </a:lstStyle>
          <a:p>
            <a:pPr lvl="0"/>
            <a:r>
              <a:rPr lang="en-GB"/>
              <a:t>Approach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7F035056-C297-4E3D-A5DA-D866119582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00999" y="3809999"/>
            <a:ext cx="3810001" cy="376971"/>
          </a:xfrm>
        </p:spPr>
        <p:txBody>
          <a:bodyPr/>
          <a:lstStyle>
            <a:lvl1pPr marL="0" inden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ct val="0"/>
              </a:spcBef>
              <a:spcAft>
                <a:spcPct val="0"/>
              </a:spcAft>
              <a:buNone/>
              <a:defRPr sz="1800" b="1"/>
            </a:lvl2pPr>
            <a:lvl3pPr marL="0" indent="0">
              <a:spcBef>
                <a:spcPct val="0"/>
              </a:spcBef>
              <a:spcAft>
                <a:spcPct val="0"/>
              </a:spcAft>
              <a:buNone/>
              <a:defRPr/>
            </a:lvl3pPr>
            <a:lvl4pPr marL="0" indent="0">
              <a:spcBef>
                <a:spcPct val="0"/>
              </a:spcBef>
              <a:spcAft>
                <a:spcPct val="0"/>
              </a:spcAft>
              <a:buNone/>
              <a:defRPr/>
            </a:lvl4pPr>
            <a:lvl5pPr marL="0" indent="0">
              <a:spcBef>
                <a:spcPct val="0"/>
              </a:spcBef>
              <a:spcAft>
                <a:spcPct val="0"/>
              </a:spcAft>
              <a:buNone/>
              <a:defRPr/>
            </a:lvl5pPr>
          </a:lstStyle>
          <a:p>
            <a:pPr lvl="0"/>
            <a:r>
              <a:rPr lang="en-GB"/>
              <a:t>Impact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FCA46901-ED40-41AA-95AD-ADE9E86C443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28973" y="4187825"/>
            <a:ext cx="381002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FFC8F3DC-2FB3-4CA7-9006-B6A3370B9E0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00944" y="4186238"/>
            <a:ext cx="380926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C88F3AC6-38BB-420F-928B-D3D9DAD55B7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28973" y="765175"/>
            <a:ext cx="3810001" cy="138191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Picture Placeholder 20">
            <a:extLst>
              <a:ext uri="{FF2B5EF4-FFF2-40B4-BE49-F238E27FC236}">
                <a16:creationId xmlns:a16="http://schemas.microsoft.com/office/drawing/2014/main" id="{B62EDA09-4F38-47EC-8087-3301CDABF2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620000" y="-1"/>
            <a:ext cx="4572000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2192540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96CD57-C0DB-43A8-8C5C-A539549839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1381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96CD57-C0DB-43A8-8C5C-A53954983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2089A8CE-377D-4B70-A044-B5B63794CD49}"/>
              </a:ext>
            </a:extLst>
          </p:cNvPr>
          <p:cNvSpPr/>
          <p:nvPr userDrawn="1"/>
        </p:nvSpPr>
        <p:spPr>
          <a:xfrm>
            <a:off x="0" y="1524001"/>
            <a:ext cx="3179676" cy="5333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>
          <a:xfrm>
            <a:off x="0" y="-1587"/>
            <a:ext cx="12192000" cy="1525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9" name="Graphic 19">
            <a:extLst>
              <a:ext uri="{FF2B5EF4-FFF2-40B4-BE49-F238E27FC236}">
                <a16:creationId xmlns:a16="http://schemas.microsoft.com/office/drawing/2014/main" id="{E2AD44DB-E4BE-48E0-8F62-15DBB756E093}"/>
              </a:ext>
            </a:extLst>
          </p:cNvPr>
          <p:cNvGrpSpPr/>
          <p:nvPr userDrawn="1"/>
        </p:nvGrpSpPr>
        <p:grpSpPr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20" name="Freeform 21">
              <a:extLst>
                <a:ext uri="{FF2B5EF4-FFF2-40B4-BE49-F238E27FC236}">
                  <a16:creationId xmlns:a16="http://schemas.microsoft.com/office/drawing/2014/main" id="{D9EDA8B2-D76D-463C-84C9-0185631E431D}"/>
                </a:ext>
              </a:extLst>
            </p:cNvPr>
            <p:cNvSpPr/>
            <p:nvPr/>
          </p:nvSpPr>
          <p:spPr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Freeform 22">
              <a:extLst>
                <a:ext uri="{FF2B5EF4-FFF2-40B4-BE49-F238E27FC236}">
                  <a16:creationId xmlns:a16="http://schemas.microsoft.com/office/drawing/2014/main" id="{089BEC8C-E8E0-466A-AB84-053758789BE8}"/>
                </a:ext>
              </a:extLst>
            </p:cNvPr>
            <p:cNvSpPr/>
            <p:nvPr/>
          </p:nvSpPr>
          <p:spPr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Freeform 23">
              <a:extLst>
                <a:ext uri="{FF2B5EF4-FFF2-40B4-BE49-F238E27FC236}">
                  <a16:creationId xmlns:a16="http://schemas.microsoft.com/office/drawing/2014/main" id="{EF9B4F61-6118-4461-9202-2F3FEFDCA5EE}"/>
                </a:ext>
              </a:extLst>
            </p:cNvPr>
            <p:cNvSpPr/>
            <p:nvPr/>
          </p:nvSpPr>
          <p:spPr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Freeform 24">
              <a:extLst>
                <a:ext uri="{FF2B5EF4-FFF2-40B4-BE49-F238E27FC236}">
                  <a16:creationId xmlns:a16="http://schemas.microsoft.com/office/drawing/2014/main" id="{3BFE760D-733B-4BE0-ABE9-B1AADF47863B}"/>
                </a:ext>
              </a:extLst>
            </p:cNvPr>
            <p:cNvSpPr/>
            <p:nvPr/>
          </p:nvSpPr>
          <p:spPr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Freeform 25">
              <a:extLst>
                <a:ext uri="{FF2B5EF4-FFF2-40B4-BE49-F238E27FC236}">
                  <a16:creationId xmlns:a16="http://schemas.microsoft.com/office/drawing/2014/main" id="{A2BEDB90-47A9-4806-BB41-5778AD529E0D}"/>
                </a:ext>
              </a:extLst>
            </p:cNvPr>
            <p:cNvSpPr/>
            <p:nvPr/>
          </p:nvSpPr>
          <p:spPr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20BF7B9D-48F5-44B5-A629-838B97CB67EF}"/>
                </a:ext>
              </a:extLst>
            </p:cNvPr>
            <p:cNvSpPr/>
            <p:nvPr/>
          </p:nvSpPr>
          <p:spPr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1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BE4B057E-40BF-4DFD-8FB4-9417EA32342E}"/>
                </a:ext>
              </a:extLst>
            </p:cNvPr>
            <p:cNvSpPr/>
            <p:nvPr/>
          </p:nvSpPr>
          <p:spPr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60416A9F-C813-47A1-BC5C-9781DE143BBC}"/>
              </a:ext>
            </a:extLst>
          </p:cNvPr>
          <p:cNvSpPr txBox="1"/>
          <p:nvPr userDrawn="1"/>
        </p:nvSpPr>
        <p:spPr>
          <a:xfrm>
            <a:off x="381001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6CE8C368-3382-4C28-AE75-DF7C05ACA19D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E1E1E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E4614CD-0A06-45AD-BFB3-52C98A151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1000"/>
            <a:ext cx="5334000" cy="830997"/>
          </a:xfrm>
        </p:spPr>
        <p:txBody>
          <a:bodyPr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en-GB"/>
              <a:t>Key message. 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166774288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pos="3840">
          <p15:clr>
            <a:srgbClr val="969696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3F9F64B-940B-43E0-8291-E8A36A1AE55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428999" y="381001"/>
            <a:ext cx="8382001" cy="5715000"/>
          </a:xfrm>
        </p:spPr>
        <p:txBody>
          <a:bodyPr/>
          <a:lstStyle>
            <a:lvl1pPr>
              <a:defRPr sz="2000" b="1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  <a:lvl3pPr marL="180975" indent="-179388">
              <a:defRPr/>
            </a:lvl3pPr>
            <a:lvl4pPr marL="357188" indent="-179388">
              <a:defRPr/>
            </a:lvl4pPr>
            <a:lvl5pPr marL="538163" indent="-179388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6F9B490-F790-4671-9748-99A165BDC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Key message. </a:t>
            </a:r>
            <a:br>
              <a:rPr lang="en-GB"/>
            </a:br>
            <a:r>
              <a:rPr lang="en-GB"/>
              <a:t>If the audience reads just this, it will be enough. Make every word count. Say it like you would in the room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138709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245B73-A482-F64B-86B5-7D35749B6A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2286000" cy="385762"/>
          </a:xfrm>
        </p:spPr>
        <p:txBody>
          <a:bodyPr>
            <a:noAutofit/>
          </a:bodyPr>
          <a:lstStyle/>
          <a:p>
            <a:r>
              <a:rPr lang="en-GB"/>
              <a:t>Thank you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0A2A9C-BC2E-E84C-9D64-34631BC47D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43000"/>
            <a:ext cx="2667000" cy="992633"/>
          </a:xfrm>
        </p:spPr>
        <p:txBody>
          <a:bodyPr/>
          <a:lstStyle>
            <a:lvl1pPr marL="0" inden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sz="1100" b="1"/>
            </a:lvl1pPr>
            <a:lvl2pPr marL="0" indent="0">
              <a:spcBef>
                <a:spcPct val="0"/>
              </a:spcBef>
              <a:spcAft>
                <a:spcPct val="0"/>
              </a:spcAft>
              <a:buNone/>
              <a:defRPr sz="1100"/>
            </a:lvl2pPr>
            <a:lvl3pPr marL="0" indent="0">
              <a:spcBef>
                <a:spcPct val="0"/>
              </a:spcBef>
              <a:spcAft>
                <a:spcPct val="0"/>
              </a:spcAft>
              <a:buNone/>
              <a:defRPr/>
            </a:lvl3pPr>
            <a:lvl4pPr marL="0" indent="0">
              <a:spcBef>
                <a:spcPct val="0"/>
              </a:spcBef>
              <a:spcAft>
                <a:spcPct val="0"/>
              </a:spcAft>
              <a:buNone/>
              <a:defRPr/>
            </a:lvl4pPr>
            <a:lvl5pPr marL="0" indent="0">
              <a:spcBef>
                <a:spcPct val="0"/>
              </a:spcBef>
              <a:spcAft>
                <a:spcPct val="0"/>
              </a:spcAft>
              <a:buNone/>
              <a:defRPr/>
            </a:lvl5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etail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E2D8C7B-E137-3948-86A5-8EF55583B6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29001" y="1143000"/>
            <a:ext cx="2666999" cy="992633"/>
          </a:xfrm>
        </p:spPr>
        <p:txBody>
          <a:bodyPr/>
          <a:lstStyle>
            <a:lvl1pPr marL="0" inden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sz="1100" b="1"/>
            </a:lvl1pPr>
            <a:lvl2pPr marL="0" indent="0">
              <a:spcBef>
                <a:spcPct val="0"/>
              </a:spcBef>
              <a:spcAft>
                <a:spcPct val="0"/>
              </a:spcAft>
              <a:buNone/>
              <a:defRPr sz="1100"/>
            </a:lvl2pPr>
            <a:lvl3pPr marL="0" indent="0">
              <a:spcBef>
                <a:spcPct val="0"/>
              </a:spcBef>
              <a:spcAft>
                <a:spcPct val="0"/>
              </a:spcAft>
              <a:buNone/>
              <a:defRPr/>
            </a:lvl3pPr>
            <a:lvl4pPr marL="0" indent="0">
              <a:spcBef>
                <a:spcPct val="0"/>
              </a:spcBef>
              <a:spcAft>
                <a:spcPct val="0"/>
              </a:spcAft>
              <a:buNone/>
              <a:defRPr/>
            </a:lvl4pPr>
            <a:lvl5pPr marL="0" indent="0">
              <a:spcBef>
                <a:spcPct val="0"/>
              </a:spcBef>
              <a:spcAft>
                <a:spcPct val="0"/>
              </a:spcAft>
              <a:buNone/>
              <a:defRPr/>
            </a:lvl5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etail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E76C799-A2B3-8549-BF01-A5E85152A2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2283532"/>
            <a:ext cx="2667000" cy="992633"/>
          </a:xfrm>
        </p:spPr>
        <p:txBody>
          <a:bodyPr/>
          <a:lstStyle>
            <a:lvl1pPr marL="0" inden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sz="1100" b="1"/>
            </a:lvl1pPr>
            <a:lvl2pPr marL="0" indent="0">
              <a:spcBef>
                <a:spcPct val="0"/>
              </a:spcBef>
              <a:spcAft>
                <a:spcPct val="0"/>
              </a:spcAft>
              <a:buNone/>
              <a:defRPr sz="1100"/>
            </a:lvl2pPr>
            <a:lvl3pPr marL="0" indent="0">
              <a:spcBef>
                <a:spcPct val="0"/>
              </a:spcBef>
              <a:spcAft>
                <a:spcPct val="0"/>
              </a:spcAft>
              <a:buNone/>
              <a:defRPr/>
            </a:lvl3pPr>
            <a:lvl4pPr marL="0" indent="0">
              <a:spcBef>
                <a:spcPct val="0"/>
              </a:spcBef>
              <a:spcAft>
                <a:spcPct val="0"/>
              </a:spcAft>
              <a:buNone/>
              <a:defRPr/>
            </a:lvl4pPr>
            <a:lvl5pPr marL="0" indent="0">
              <a:spcBef>
                <a:spcPct val="0"/>
              </a:spcBef>
              <a:spcAft>
                <a:spcPct val="0"/>
              </a:spcAft>
              <a:buNone/>
              <a:defRPr/>
            </a:lvl5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etail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EF35F24-23CB-894F-98A8-27315C4DB2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29001" y="2283532"/>
            <a:ext cx="2666999" cy="992633"/>
          </a:xfrm>
        </p:spPr>
        <p:txBody>
          <a:bodyPr/>
          <a:lstStyle>
            <a:lvl1pPr marL="0" inden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sz="1100" b="1"/>
            </a:lvl1pPr>
            <a:lvl2pPr marL="0" indent="0">
              <a:spcBef>
                <a:spcPct val="0"/>
              </a:spcBef>
              <a:spcAft>
                <a:spcPct val="0"/>
              </a:spcAft>
              <a:buNone/>
              <a:defRPr sz="1100"/>
            </a:lvl2pPr>
            <a:lvl3pPr marL="0" indent="0">
              <a:spcBef>
                <a:spcPct val="0"/>
              </a:spcBef>
              <a:spcAft>
                <a:spcPct val="0"/>
              </a:spcAft>
              <a:buNone/>
              <a:defRPr/>
            </a:lvl3pPr>
            <a:lvl4pPr marL="0" indent="0">
              <a:spcBef>
                <a:spcPct val="0"/>
              </a:spcBef>
              <a:spcAft>
                <a:spcPct val="0"/>
              </a:spcAft>
              <a:buNone/>
              <a:defRPr/>
            </a:lvl4pPr>
            <a:lvl5pPr marL="0" indent="0">
              <a:spcBef>
                <a:spcPct val="0"/>
              </a:spcBef>
              <a:spcAft>
                <a:spcPct val="0"/>
              </a:spcAft>
              <a:buNone/>
              <a:defRPr/>
            </a:lvl5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etail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78BA69A-3076-2A40-8C16-4A197F6CC4C1}"/>
              </a:ext>
            </a:extLst>
          </p:cNvPr>
          <p:cNvSpPr/>
          <p:nvPr userDrawn="1"/>
        </p:nvSpPr>
        <p:spPr>
          <a:xfrm>
            <a:off x="381000" y="5589610"/>
            <a:ext cx="4490864" cy="503215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s document is exclusively intended for selected client employees. Distribution, quotations and duplications – even in the form of extracts – for third parties is only permitted upon prior written consent of Kearney. 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arney used the text and charts compiled in this report in a presentation; they do not represent a complete documentation of the presentation.</a:t>
            </a:r>
          </a:p>
        </p:txBody>
      </p:sp>
      <p:sp>
        <p:nvSpPr>
          <p:cNvPr id="22" name="Picture Placeholder 43">
            <a:extLst>
              <a:ext uri="{FF2B5EF4-FFF2-40B4-BE49-F238E27FC236}">
                <a16:creationId xmlns:a16="http://schemas.microsoft.com/office/drawing/2014/main" id="{763095BA-2E8C-A049-B6E6-B9E92AF228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1858328 w 6096000"/>
              <a:gd name="connsiteY1" fmla="*/ 0 h 6858000"/>
              <a:gd name="connsiteX2" fmla="*/ 3456432 w 6096000"/>
              <a:gd name="connsiteY2" fmla="*/ 2612771 h 6858000"/>
              <a:gd name="connsiteX3" fmla="*/ 5093144 w 6096000"/>
              <a:gd name="connsiteY3" fmla="*/ 0 h 6858000"/>
              <a:gd name="connsiteX4" fmla="*/ 6096000 w 6096000"/>
              <a:gd name="connsiteY4" fmla="*/ 0 h 6858000"/>
              <a:gd name="connsiteX5" fmla="*/ 6096000 w 6096000"/>
              <a:gd name="connsiteY5" fmla="*/ 1283272 h 6858000"/>
              <a:gd name="connsiteX6" fmla="*/ 4272026 w 6096000"/>
              <a:gd name="connsiteY6" fmla="*/ 4115435 h 6858000"/>
              <a:gd name="connsiteX7" fmla="*/ 4272026 w 6096000"/>
              <a:gd name="connsiteY7" fmla="*/ 6858000 h 6858000"/>
              <a:gd name="connsiteX8" fmla="*/ 2650427 w 6096000"/>
              <a:gd name="connsiteY8" fmla="*/ 6858000 h 6858000"/>
              <a:gd name="connsiteX9" fmla="*/ 2650427 w 6096000"/>
              <a:gd name="connsiteY9" fmla="*/ 410629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1858328" y="0"/>
                </a:lnTo>
                <a:lnTo>
                  <a:pt x="3456432" y="2612771"/>
                </a:lnTo>
                <a:lnTo>
                  <a:pt x="5093144" y="0"/>
                </a:lnTo>
                <a:lnTo>
                  <a:pt x="6096000" y="0"/>
                </a:lnTo>
                <a:lnTo>
                  <a:pt x="6096000" y="1283272"/>
                </a:lnTo>
                <a:lnTo>
                  <a:pt x="4272026" y="4115435"/>
                </a:lnTo>
                <a:lnTo>
                  <a:pt x="4272026" y="6858000"/>
                </a:lnTo>
                <a:lnTo>
                  <a:pt x="2650427" y="6858000"/>
                </a:lnTo>
                <a:lnTo>
                  <a:pt x="2650427" y="41062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defRPr sz="11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/>
              <a:t>Click to insert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4D08DEC-6623-4781-9EAF-1AEF06E65F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0" y="3424064"/>
            <a:ext cx="2667000" cy="992633"/>
          </a:xfrm>
        </p:spPr>
        <p:txBody>
          <a:bodyPr/>
          <a:lstStyle>
            <a:lvl1pPr marL="0" inden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sz="1100" b="1"/>
            </a:lvl1pPr>
            <a:lvl2pPr marL="0" indent="0">
              <a:spcBef>
                <a:spcPct val="0"/>
              </a:spcBef>
              <a:spcAft>
                <a:spcPct val="0"/>
              </a:spcAft>
              <a:buNone/>
              <a:defRPr sz="1100"/>
            </a:lvl2pPr>
            <a:lvl3pPr marL="0" indent="0">
              <a:spcBef>
                <a:spcPct val="0"/>
              </a:spcBef>
              <a:spcAft>
                <a:spcPct val="0"/>
              </a:spcAft>
              <a:buNone/>
              <a:defRPr/>
            </a:lvl3pPr>
            <a:lvl4pPr marL="0" indent="0">
              <a:spcBef>
                <a:spcPct val="0"/>
              </a:spcBef>
              <a:spcAft>
                <a:spcPct val="0"/>
              </a:spcAft>
              <a:buNone/>
              <a:defRPr/>
            </a:lvl4pPr>
            <a:lvl5pPr marL="0" indent="0">
              <a:spcBef>
                <a:spcPct val="0"/>
              </a:spcBef>
              <a:spcAft>
                <a:spcPct val="0"/>
              </a:spcAft>
              <a:buNone/>
              <a:defRPr/>
            </a:lvl5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etail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627CD43-C8BD-456F-B11B-D4CCC5605F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9001" y="3424064"/>
            <a:ext cx="2666999" cy="992633"/>
          </a:xfrm>
        </p:spPr>
        <p:txBody>
          <a:bodyPr/>
          <a:lstStyle>
            <a:lvl1pPr marL="0" inden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sz="1100" b="1"/>
            </a:lvl1pPr>
            <a:lvl2pPr marL="0" indent="0">
              <a:spcBef>
                <a:spcPct val="0"/>
              </a:spcBef>
              <a:spcAft>
                <a:spcPct val="0"/>
              </a:spcAft>
              <a:buNone/>
              <a:defRPr sz="1100"/>
            </a:lvl2pPr>
            <a:lvl3pPr marL="0" indent="0">
              <a:spcBef>
                <a:spcPct val="0"/>
              </a:spcBef>
              <a:spcAft>
                <a:spcPct val="0"/>
              </a:spcAft>
              <a:buNone/>
              <a:defRPr/>
            </a:lvl3pPr>
            <a:lvl4pPr marL="0" indent="0">
              <a:spcBef>
                <a:spcPct val="0"/>
              </a:spcBef>
              <a:spcAft>
                <a:spcPct val="0"/>
              </a:spcAft>
              <a:buNone/>
              <a:defRPr/>
            </a:lvl4pPr>
            <a:lvl5pPr marL="0" indent="0">
              <a:spcBef>
                <a:spcPct val="0"/>
              </a:spcBef>
              <a:spcAft>
                <a:spcPct val="0"/>
              </a:spcAft>
              <a:buNone/>
              <a:defRPr/>
            </a:lvl5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etails</a:t>
            </a:r>
          </a:p>
        </p:txBody>
      </p:sp>
      <p:grpSp>
        <p:nvGrpSpPr>
          <p:cNvPr id="26" name="Graphic 19">
            <a:extLst>
              <a:ext uri="{FF2B5EF4-FFF2-40B4-BE49-F238E27FC236}">
                <a16:creationId xmlns:a16="http://schemas.microsoft.com/office/drawing/2014/main" id="{D8D986CC-9B47-4B75-9BCD-29E200D094F9}"/>
              </a:ext>
            </a:extLst>
          </p:cNvPr>
          <p:cNvGrpSpPr/>
          <p:nvPr userDrawn="1"/>
        </p:nvGrpSpPr>
        <p:grpSpPr>
          <a:xfrm>
            <a:off x="381000" y="6250079"/>
            <a:ext cx="1901823" cy="223746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A0E8E75B-ACB1-40EC-91FD-14C0A2D3A476}"/>
                </a:ext>
              </a:extLst>
            </p:cNvPr>
            <p:cNvSpPr/>
            <p:nvPr/>
          </p:nvSpPr>
          <p:spPr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B7A694C7-7536-4187-8B55-E4A46D058B83}"/>
                </a:ext>
              </a:extLst>
            </p:cNvPr>
            <p:cNvSpPr/>
            <p:nvPr/>
          </p:nvSpPr>
          <p:spPr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A90AC4F7-A0F8-47C4-AB3E-F18869A9E4A5}"/>
                </a:ext>
              </a:extLst>
            </p:cNvPr>
            <p:cNvSpPr/>
            <p:nvPr/>
          </p:nvSpPr>
          <p:spPr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B695B17-2FD5-4411-8281-DA58C9A3F944}"/>
                </a:ext>
              </a:extLst>
            </p:cNvPr>
            <p:cNvSpPr/>
            <p:nvPr/>
          </p:nvSpPr>
          <p:spPr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Freeform 15">
              <a:extLst>
                <a:ext uri="{FF2B5EF4-FFF2-40B4-BE49-F238E27FC236}">
                  <a16:creationId xmlns:a16="http://schemas.microsoft.com/office/drawing/2014/main" id="{D6B62859-BAD3-49CA-BA94-73296F549BD0}"/>
                </a:ext>
              </a:extLst>
            </p:cNvPr>
            <p:cNvSpPr/>
            <p:nvPr/>
          </p:nvSpPr>
          <p:spPr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Freeform 16">
              <a:extLst>
                <a:ext uri="{FF2B5EF4-FFF2-40B4-BE49-F238E27FC236}">
                  <a16:creationId xmlns:a16="http://schemas.microsoft.com/office/drawing/2014/main" id="{9199EE27-3DE6-4BFA-A85B-AFDA2A8B959B}"/>
                </a:ext>
              </a:extLst>
            </p:cNvPr>
            <p:cNvSpPr/>
            <p:nvPr/>
          </p:nvSpPr>
          <p:spPr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1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Freeform 17">
              <a:extLst>
                <a:ext uri="{FF2B5EF4-FFF2-40B4-BE49-F238E27FC236}">
                  <a16:creationId xmlns:a16="http://schemas.microsoft.com/office/drawing/2014/main" id="{2CDF0A25-4EEA-441C-A6E6-F2B07A6E5124}"/>
                </a:ext>
              </a:extLst>
            </p:cNvPr>
            <p:cNvSpPr/>
            <p:nvPr/>
          </p:nvSpPr>
          <p:spPr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34" name="Picture 33" descr="A drawing of a face&#10;&#10;Description automatically generated">
            <a:hlinkClick r:id="rId2"/>
            <a:extLst>
              <a:ext uri="{FF2B5EF4-FFF2-40B4-BE49-F238E27FC236}">
                <a16:creationId xmlns:a16="http://schemas.microsoft.com/office/drawing/2014/main" id="{2A565116-6508-49C7-87EB-B9E5099C289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6715" y="4930812"/>
            <a:ext cx="406400" cy="406400"/>
          </a:xfrm>
          <a:prstGeom prst="rect">
            <a:avLst/>
          </a:prstGeom>
        </p:spPr>
      </p:pic>
      <p:pic>
        <p:nvPicPr>
          <p:cNvPr id="35" name="Picture 34" descr="A picture containing drawing&#10;&#10;Description automatically generated">
            <a:hlinkClick r:id="rId4"/>
            <a:extLst>
              <a:ext uri="{FF2B5EF4-FFF2-40B4-BE49-F238E27FC236}">
                <a16:creationId xmlns:a16="http://schemas.microsoft.com/office/drawing/2014/main" id="{E7007630-77E7-42BB-BAA5-FAF0126C0AB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9640" y="4930812"/>
            <a:ext cx="406400" cy="406400"/>
          </a:xfrm>
          <a:prstGeom prst="rect">
            <a:avLst/>
          </a:prstGeom>
        </p:spPr>
      </p:pic>
      <p:pic>
        <p:nvPicPr>
          <p:cNvPr id="36" name="Picture 35" descr="A picture containing drawing&#10;&#10;Description automatically generated">
            <a:hlinkClick r:id="rId6"/>
            <a:extLst>
              <a:ext uri="{FF2B5EF4-FFF2-40B4-BE49-F238E27FC236}">
                <a16:creationId xmlns:a16="http://schemas.microsoft.com/office/drawing/2014/main" id="{181FE440-240E-4D13-A503-8BD65F04EFB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72565" y="4930812"/>
            <a:ext cx="406400" cy="406400"/>
          </a:xfrm>
          <a:prstGeom prst="rect">
            <a:avLst/>
          </a:prstGeom>
        </p:spPr>
      </p:pic>
      <p:pic>
        <p:nvPicPr>
          <p:cNvPr id="37" name="Picture 36" descr="A picture containing drawing&#10;&#10;Description automatically generated">
            <a:hlinkClick r:id="rId8"/>
            <a:extLst>
              <a:ext uri="{FF2B5EF4-FFF2-40B4-BE49-F238E27FC236}">
                <a16:creationId xmlns:a16="http://schemas.microsoft.com/office/drawing/2014/main" id="{0937E484-B066-45FF-98FD-C64958D62237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58415" y="4924954"/>
            <a:ext cx="406400" cy="406400"/>
          </a:xfrm>
          <a:prstGeom prst="rect">
            <a:avLst/>
          </a:prstGeom>
        </p:spPr>
      </p:pic>
      <p:pic>
        <p:nvPicPr>
          <p:cNvPr id="38" name="Picture 37" descr="A drawing of a face&#10;&#10;Description automatically generated">
            <a:hlinkClick r:id="rId10"/>
            <a:extLst>
              <a:ext uri="{FF2B5EF4-FFF2-40B4-BE49-F238E27FC236}">
                <a16:creationId xmlns:a16="http://schemas.microsoft.com/office/drawing/2014/main" id="{EDC82321-65DC-4E2A-9F1D-5B9B67135F0E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15490" y="4924954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1709963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V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CD7508A2-A0AF-4811-ACA1-FC84D131531A}"/>
              </a:ext>
            </a:extLst>
          </p:cNvPr>
          <p:cNvSpPr/>
          <p:nvPr userDrawn="1"/>
        </p:nvSpPr>
        <p:spPr>
          <a:xfrm>
            <a:off x="-7168" y="3429000"/>
            <a:ext cx="6101581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AA1EFBD-66C8-4081-AADF-2B4A352FE64D}"/>
              </a:ext>
            </a:extLst>
          </p:cNvPr>
          <p:cNvSpPr/>
          <p:nvPr userDrawn="1"/>
        </p:nvSpPr>
        <p:spPr>
          <a:xfrm>
            <a:off x="0" y="-1587"/>
            <a:ext cx="6096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Picture Placeholder 21">
            <a:extLst>
              <a:ext uri="{FF2B5EF4-FFF2-40B4-BE49-F238E27FC236}">
                <a16:creationId xmlns:a16="http://schemas.microsoft.com/office/drawing/2014/main" id="{3448625E-017A-4951-9ED5-25641345A0F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044825" y="-1587"/>
            <a:ext cx="3051175" cy="34305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picture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D364477-0314-4F10-9D10-E2EF9653C5E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80999" y="3638446"/>
            <a:ext cx="2667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 dirty="0"/>
              <a:t>Areas of Expertis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F7FD24E3-E069-4B35-9C18-F463735BC89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428999" y="3638446"/>
            <a:ext cx="2286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 dirty="0"/>
              <a:t>Educ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3B904A-F76F-4A89-9C9D-B0B0D1D3C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Surname Name</a:t>
            </a:r>
            <a:br>
              <a:rPr lang="en-GB" dirty="0"/>
            </a:br>
            <a:r>
              <a:rPr lang="en-GB" b="0" dirty="0"/>
              <a:t>Position, Office, Country</a:t>
            </a:r>
            <a:endParaRPr lang="en-GB" dirty="0"/>
          </a:p>
        </p:txBody>
      </p:sp>
      <p:grpSp>
        <p:nvGrpSpPr>
          <p:cNvPr id="35" name="Graphic 19">
            <a:extLst>
              <a:ext uri="{FF2B5EF4-FFF2-40B4-BE49-F238E27FC236}">
                <a16:creationId xmlns:a16="http://schemas.microsoft.com/office/drawing/2014/main" id="{0DF2BC8F-BD6E-4BED-A9DD-8DCAEA9A50D4}"/>
              </a:ext>
            </a:extLst>
          </p:cNvPr>
          <p:cNvGrpSpPr/>
          <p:nvPr userDrawn="1"/>
        </p:nvGrpSpPr>
        <p:grpSpPr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36" name="Freeform 21">
              <a:extLst>
                <a:ext uri="{FF2B5EF4-FFF2-40B4-BE49-F238E27FC236}">
                  <a16:creationId xmlns:a16="http://schemas.microsoft.com/office/drawing/2014/main" id="{AC1D5788-EC41-4A64-9CD3-6E3CB88E41EC}"/>
                </a:ext>
              </a:extLst>
            </p:cNvPr>
            <p:cNvSpPr/>
            <p:nvPr/>
          </p:nvSpPr>
          <p:spPr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22">
              <a:extLst>
                <a:ext uri="{FF2B5EF4-FFF2-40B4-BE49-F238E27FC236}">
                  <a16:creationId xmlns:a16="http://schemas.microsoft.com/office/drawing/2014/main" id="{009902B4-2695-4527-B5C8-31F48F2A9654}"/>
                </a:ext>
              </a:extLst>
            </p:cNvPr>
            <p:cNvSpPr/>
            <p:nvPr/>
          </p:nvSpPr>
          <p:spPr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Freeform 23">
              <a:extLst>
                <a:ext uri="{FF2B5EF4-FFF2-40B4-BE49-F238E27FC236}">
                  <a16:creationId xmlns:a16="http://schemas.microsoft.com/office/drawing/2014/main" id="{D3AD1063-D2B8-4B6A-A86D-08AD8E37AAD7}"/>
                </a:ext>
              </a:extLst>
            </p:cNvPr>
            <p:cNvSpPr/>
            <p:nvPr/>
          </p:nvSpPr>
          <p:spPr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24">
              <a:extLst>
                <a:ext uri="{FF2B5EF4-FFF2-40B4-BE49-F238E27FC236}">
                  <a16:creationId xmlns:a16="http://schemas.microsoft.com/office/drawing/2014/main" id="{27E78175-02A9-436A-96A2-9F5365F56578}"/>
                </a:ext>
              </a:extLst>
            </p:cNvPr>
            <p:cNvSpPr/>
            <p:nvPr/>
          </p:nvSpPr>
          <p:spPr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25">
              <a:extLst>
                <a:ext uri="{FF2B5EF4-FFF2-40B4-BE49-F238E27FC236}">
                  <a16:creationId xmlns:a16="http://schemas.microsoft.com/office/drawing/2014/main" id="{17E9070A-F511-4A5B-9153-39FEE2463F81}"/>
                </a:ext>
              </a:extLst>
            </p:cNvPr>
            <p:cNvSpPr/>
            <p:nvPr/>
          </p:nvSpPr>
          <p:spPr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241166F2-3E56-4401-B77D-EB0307B39A0C}"/>
                </a:ext>
              </a:extLst>
            </p:cNvPr>
            <p:cNvSpPr/>
            <p:nvPr/>
          </p:nvSpPr>
          <p:spPr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5F257939-AA22-4BDE-B164-A41F0FA3F5A1}"/>
                </a:ext>
              </a:extLst>
            </p:cNvPr>
            <p:cNvSpPr/>
            <p:nvPr/>
          </p:nvSpPr>
          <p:spPr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BEAE6D84-B6DD-4EDD-AF9D-0557698E1334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80999" y="4014091"/>
            <a:ext cx="2666746" cy="2074529"/>
          </a:xfrm>
        </p:spPr>
        <p:txBody>
          <a:bodyPr/>
          <a:lstStyle>
            <a:lvl1pPr marL="171450" indent="-17145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1pPr>
            <a:lvl2pPr marL="357188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2pPr>
            <a:lvl3pPr marL="538163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tabLst/>
              <a:defRPr/>
            </a:lvl3pPr>
            <a:lvl4pPr marL="3600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Content Placeholder 4">
            <a:extLst>
              <a:ext uri="{FF2B5EF4-FFF2-40B4-BE49-F238E27FC236}">
                <a16:creationId xmlns:a16="http://schemas.microsoft.com/office/drawing/2014/main" id="{5F7F1EA4-C814-480F-B003-45406D81DE96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3427396" y="4014091"/>
            <a:ext cx="2285783" cy="2074529"/>
          </a:xfrm>
        </p:spPr>
        <p:txBody>
          <a:bodyPr/>
          <a:lstStyle>
            <a:lvl1pPr marL="171450" indent="-17145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1pPr>
            <a:lvl2pPr marL="357188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2pPr>
            <a:lvl3pPr marL="538163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tabLst/>
              <a:defRPr/>
            </a:lvl3pPr>
            <a:lvl4pPr marL="3600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Content Placeholder 4">
            <a:extLst>
              <a:ext uri="{FF2B5EF4-FFF2-40B4-BE49-F238E27FC236}">
                <a16:creationId xmlns:a16="http://schemas.microsoft.com/office/drawing/2014/main" id="{456734BC-EC09-4012-BD47-6165A89575FC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6477000" y="381000"/>
            <a:ext cx="5334000" cy="5707620"/>
          </a:xfrm>
        </p:spPr>
        <p:txBody>
          <a:bodyPr/>
          <a:lstStyle>
            <a:lvl1pPr marL="171450" indent="-17145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1pPr>
            <a:lvl2pPr marL="357188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2pPr>
            <a:lvl3pPr marL="538163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tabLst/>
              <a:defRPr/>
            </a:lvl3pPr>
            <a:lvl4pPr marL="3600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3D7114F-F639-4ADE-A59A-1DE07A41E53F}"/>
              </a:ext>
            </a:extLst>
          </p:cNvPr>
          <p:cNvSpPr txBox="1"/>
          <p:nvPr userDrawn="1"/>
        </p:nvSpPr>
        <p:spPr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 dirty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16140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xecutive Summar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315241-EEBB-824F-A3D9-D6051FA843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1000" y="381000"/>
            <a:ext cx="8378825" cy="532796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sz="2800" b="1">
                <a:solidFill>
                  <a:schemeClr val="tx2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69875" indent="-269875">
              <a:defRPr>
                <a:solidFill>
                  <a:schemeClr val="tx1"/>
                </a:solidFill>
              </a:defRPr>
            </a:lvl3pPr>
            <a:lvl4pPr marL="720000" indent="-360000">
              <a:spcBef>
                <a:spcPts val="0"/>
              </a:spcBef>
              <a:buFont typeface="System Font Regular"/>
              <a:buChar char="–"/>
              <a:defRPr/>
            </a:lvl4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Key message. If the audience reads just this, </a:t>
            </a:r>
            <a:br>
              <a:rPr lang="en-GB" dirty="0"/>
            </a:br>
            <a:r>
              <a:rPr lang="en-GB" dirty="0"/>
              <a:t>it will be enough.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 bullet</a:t>
            </a:r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96DAF620-470A-A54E-B2F2-2F3B42D6BB9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156699" y="0"/>
            <a:ext cx="3035301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744427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, Image and Tex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3806CD7-0357-A942-A6DF-4AC5DAD11B3E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/>
            <a:endParaRPr lang="en-GB" sz="1100" dirty="0" err="1">
              <a:solidFill>
                <a:schemeClr val="tx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71DE84B-6490-F64E-8A04-3018F6559C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43525" cy="2664143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o place an image behind </a:t>
            </a:r>
            <a:br>
              <a:rPr lang="en-GB" dirty="0"/>
            </a:br>
            <a:r>
              <a:rPr lang="en-GB" dirty="0"/>
              <a:t>the title, use the ‘format background’ functionality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08C70C76-50F8-6945-B611-467D609F745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477000" y="381000"/>
            <a:ext cx="5330826" cy="5330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800" b="1" i="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stem Font Regular"/>
              <a:buNone/>
              <a:tabLst/>
              <a:defRPr/>
            </a:lvl2pPr>
            <a:lvl3pPr marL="269875" indent="-269875">
              <a:defRPr/>
            </a:lvl3pPr>
            <a:lvl4pPr marL="538163" indent="-268288">
              <a:buFont typeface="System Font Regular"/>
              <a:buChar char="–"/>
              <a:defRPr/>
            </a:lvl4pPr>
          </a:lstStyle>
          <a:p>
            <a:pPr lvl="0"/>
            <a:r>
              <a:rPr lang="en-GB" dirty="0"/>
              <a:t>Key message. If the audience reads just this, it will be enough.</a:t>
            </a:r>
          </a:p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en-GB" dirty="0"/>
              <a:t>This is where you make your case with relevant evidence and information. </a:t>
            </a:r>
            <a:r>
              <a:rPr lang="en-US" dirty="0"/>
              <a:t>Keep sentences concise.</a:t>
            </a:r>
            <a:r>
              <a:rPr lang="en-GB" dirty="0"/>
              <a:t> </a:t>
            </a:r>
          </a:p>
          <a:p>
            <a:pPr lvl="2"/>
            <a:r>
              <a:rPr lang="en-GB" dirty="0"/>
              <a:t>Third level bullet</a:t>
            </a:r>
          </a:p>
          <a:p>
            <a:pPr lvl="3"/>
            <a:r>
              <a:rPr lang="en-GB" dirty="0"/>
              <a:t>Fourth level bulle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4FB67EA-E126-478C-9941-348D83D9ED25}"/>
              </a:ext>
            </a:extLst>
          </p:cNvPr>
          <p:cNvSpPr txBox="1"/>
          <p:nvPr userDrawn="1"/>
        </p:nvSpPr>
        <p:spPr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bg1"/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20" name="Graphic 5">
            <a:extLst>
              <a:ext uri="{FF2B5EF4-FFF2-40B4-BE49-F238E27FC236}">
                <a16:creationId xmlns:a16="http://schemas.microsoft.com/office/drawing/2014/main" id="{FFA86E9D-11B0-42C9-9419-978C555A66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62000" y="6384543"/>
            <a:ext cx="762000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04408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C9093CB6-8F34-9640-9439-EDEDF08C59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381000"/>
            <a:ext cx="5334000" cy="3746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20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GB"/>
              <a:t>Overview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524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GB"/>
              <a:t>Set the scene.</a:t>
            </a:r>
            <a:br>
              <a:rPr lang="en-GB"/>
            </a:br>
            <a:r>
              <a:rPr lang="en-GB"/>
              <a:t>Cover the context.</a:t>
            </a:r>
          </a:p>
        </p:txBody>
      </p:sp>
      <p:sp>
        <p:nvSpPr>
          <p:cNvPr id="10" name="Picture Placeholder 17">
            <a:extLst>
              <a:ext uri="{FF2B5EF4-FFF2-40B4-BE49-F238E27FC236}">
                <a16:creationId xmlns:a16="http://schemas.microsoft.com/office/drawing/2014/main" id="{8ECEA818-F741-4C41-BBA4-A4DF4D5A939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600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1396302 h 6858000"/>
              <a:gd name="connsiteX3" fmla="*/ 3042920 w 6096000"/>
              <a:gd name="connsiteY3" fmla="*/ 1396302 h 6858000"/>
              <a:gd name="connsiteX4" fmla="*/ 3042920 w 6096000"/>
              <a:gd name="connsiteY4" fmla="*/ 3956241 h 6858000"/>
              <a:gd name="connsiteX5" fmla="*/ 6096000 w 6096000"/>
              <a:gd name="connsiteY5" fmla="*/ 3956241 h 6858000"/>
              <a:gd name="connsiteX6" fmla="*/ 6096000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1396302"/>
                </a:lnTo>
                <a:lnTo>
                  <a:pt x="3042920" y="1396302"/>
                </a:lnTo>
                <a:lnTo>
                  <a:pt x="3042920" y="3956241"/>
                </a:lnTo>
                <a:lnTo>
                  <a:pt x="6096000" y="3956241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01E6F5E8-90E6-4810-924E-C2AA65EAD2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3429000"/>
            <a:ext cx="5334000" cy="2667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4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Font typeface="System Font Regular"/>
              <a:buNone/>
              <a:tabLst/>
              <a:defRPr sz="12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1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1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100">
                <a:solidFill>
                  <a:schemeClr val="tx1"/>
                </a:solidFill>
              </a:defRPr>
            </a:lvl5pPr>
            <a:lvl6pPr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</a:defRPr>
            </a:lvl6pPr>
          </a:lstStyle>
          <a:p>
            <a:pPr lvl="0"/>
            <a:r>
              <a:rPr lang="en-GB"/>
              <a:t>Optional sub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5239925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AD4FE1-9E37-084D-B5CD-5C8B5F3169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0"/>
            <a:ext cx="5334000" cy="1518442"/>
          </a:xfrm>
        </p:spPr>
        <p:txBody>
          <a:bodyPr lIns="0" rIns="0" anchor="t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800"/>
            </a:lvl1pPr>
          </a:lstStyle>
          <a:p>
            <a:r>
              <a:rPr lang="en-GB" dirty="0"/>
              <a:t>What are you here </a:t>
            </a:r>
            <a:br>
              <a:rPr lang="en-GB" dirty="0"/>
            </a:br>
            <a:r>
              <a:rPr lang="en-GB" dirty="0"/>
              <a:t>to say? Set the tone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8B117B-053B-D74C-BAD6-ABB3754D81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2667000"/>
            <a:ext cx="5334000" cy="1143000"/>
          </a:xfrm>
        </p:spPr>
        <p:txBody>
          <a:bodyPr lIns="0" rIns="0"/>
          <a:lstStyle>
            <a:lvl1pPr marL="0" indent="952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000" b="1"/>
            </a:lvl1pPr>
            <a:lvl2pPr marL="0" marR="0" indent="95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2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0" indent="9525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4pPr>
            <a:lvl5pPr marL="0" indent="-1819275" algn="l">
              <a:spcAft>
                <a:spcPts val="0"/>
              </a:spcAft>
              <a:buNone/>
              <a:tabLst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Add supporting detail</a:t>
            </a:r>
          </a:p>
          <a:p>
            <a:pPr lvl="1"/>
            <a:r>
              <a:rPr lang="en-GB" dirty="0"/>
              <a:t>Date</a:t>
            </a:r>
          </a:p>
        </p:txBody>
      </p:sp>
      <p:grpSp>
        <p:nvGrpSpPr>
          <p:cNvPr id="7" name="Graphic 19">
            <a:extLst>
              <a:ext uri="{FF2B5EF4-FFF2-40B4-BE49-F238E27FC236}">
                <a16:creationId xmlns:a16="http://schemas.microsoft.com/office/drawing/2014/main" id="{CFAC16B0-F4A7-F543-918F-33686B72247A}"/>
              </a:ext>
            </a:extLst>
          </p:cNvPr>
          <p:cNvGrpSpPr/>
          <p:nvPr userDrawn="1"/>
        </p:nvGrpSpPr>
        <p:grpSpPr>
          <a:xfrm>
            <a:off x="381000" y="6250079"/>
            <a:ext cx="1901823" cy="223746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BC16B120-E914-4346-836A-D2EE39F39E8D}"/>
                </a:ext>
              </a:extLst>
            </p:cNvPr>
            <p:cNvSpPr/>
            <p:nvPr/>
          </p:nvSpPr>
          <p:spPr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D87A3A-326D-9340-9F69-A97A7A06294C}"/>
                </a:ext>
              </a:extLst>
            </p:cNvPr>
            <p:cNvSpPr/>
            <p:nvPr/>
          </p:nvSpPr>
          <p:spPr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832AA57B-83BA-2244-849F-D6B0F8C0D10A}"/>
                </a:ext>
              </a:extLst>
            </p:cNvPr>
            <p:cNvSpPr/>
            <p:nvPr/>
          </p:nvSpPr>
          <p:spPr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296E0F56-C15D-674F-82EC-61F7B1492288}"/>
                </a:ext>
              </a:extLst>
            </p:cNvPr>
            <p:cNvSpPr/>
            <p:nvPr/>
          </p:nvSpPr>
          <p:spPr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9CFA5212-33F7-9C47-A438-BABBB8B9B3A0}"/>
                </a:ext>
              </a:extLst>
            </p:cNvPr>
            <p:cNvSpPr/>
            <p:nvPr/>
          </p:nvSpPr>
          <p:spPr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F45CE236-8278-CC45-B4BB-6302999FC65C}"/>
                </a:ext>
              </a:extLst>
            </p:cNvPr>
            <p:cNvSpPr/>
            <p:nvPr/>
          </p:nvSpPr>
          <p:spPr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DAFDB6AE-4ADA-5545-9E6D-0ADCA24EE7E4}"/>
                </a:ext>
              </a:extLst>
            </p:cNvPr>
            <p:cNvSpPr/>
            <p:nvPr/>
          </p:nvSpPr>
          <p:spPr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15" name="Picture Placeholder 33">
            <a:extLst>
              <a:ext uri="{FF2B5EF4-FFF2-40B4-BE49-F238E27FC236}">
                <a16:creationId xmlns:a16="http://schemas.microsoft.com/office/drawing/2014/main" id="{1D5CCC86-3F10-B647-A528-00A82173898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02350" y="0"/>
            <a:ext cx="6089650" cy="6858000"/>
          </a:xfrm>
          <a:custGeom>
            <a:avLst/>
            <a:gdLst>
              <a:gd name="connsiteX0" fmla="*/ 0 w 6089650"/>
              <a:gd name="connsiteY0" fmla="*/ 0 h 6858000"/>
              <a:gd name="connsiteX1" fmla="*/ 1595374 w 6089650"/>
              <a:gd name="connsiteY1" fmla="*/ 0 h 6858000"/>
              <a:gd name="connsiteX2" fmla="*/ 1595374 w 6089650"/>
              <a:gd name="connsiteY2" fmla="*/ 2523300 h 6858000"/>
              <a:gd name="connsiteX3" fmla="*/ 2028381 w 6089650"/>
              <a:gd name="connsiteY3" fmla="*/ 2523300 h 6858000"/>
              <a:gd name="connsiteX4" fmla="*/ 4196207 w 6089650"/>
              <a:gd name="connsiteY4" fmla="*/ 0 h 6858000"/>
              <a:gd name="connsiteX5" fmla="*/ 6089650 w 6089650"/>
              <a:gd name="connsiteY5" fmla="*/ 0 h 6858000"/>
              <a:gd name="connsiteX6" fmla="*/ 6089650 w 6089650"/>
              <a:gd name="connsiteY6" fmla="*/ 149543 h 6858000"/>
              <a:gd name="connsiteX7" fmla="*/ 3336607 w 6089650"/>
              <a:gd name="connsiteY7" fmla="*/ 3429000 h 6858000"/>
              <a:gd name="connsiteX8" fmla="*/ 6089650 w 6089650"/>
              <a:gd name="connsiteY8" fmla="*/ 6708394 h 6858000"/>
              <a:gd name="connsiteX9" fmla="*/ 6089650 w 6089650"/>
              <a:gd name="connsiteY9" fmla="*/ 6858000 h 6858000"/>
              <a:gd name="connsiteX10" fmla="*/ 4197350 w 6089650"/>
              <a:gd name="connsiteY10" fmla="*/ 6858000 h 6858000"/>
              <a:gd name="connsiteX11" fmla="*/ 2049907 w 6089650"/>
              <a:gd name="connsiteY11" fmla="*/ 4309428 h 6858000"/>
              <a:gd name="connsiteX12" fmla="*/ 1595311 w 6089650"/>
              <a:gd name="connsiteY12" fmla="*/ 4309301 h 6858000"/>
              <a:gd name="connsiteX13" fmla="*/ 1595311 w 6089650"/>
              <a:gd name="connsiteY13" fmla="*/ 6858000 h 6858000"/>
              <a:gd name="connsiteX14" fmla="*/ 0 w 6089650"/>
              <a:gd name="connsiteY1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89650" h="6858000">
                <a:moveTo>
                  <a:pt x="0" y="0"/>
                </a:moveTo>
                <a:lnTo>
                  <a:pt x="1595374" y="0"/>
                </a:lnTo>
                <a:lnTo>
                  <a:pt x="1595374" y="2523300"/>
                </a:lnTo>
                <a:lnTo>
                  <a:pt x="2028381" y="2523300"/>
                </a:lnTo>
                <a:lnTo>
                  <a:pt x="4196207" y="0"/>
                </a:lnTo>
                <a:lnTo>
                  <a:pt x="6089650" y="0"/>
                </a:lnTo>
                <a:lnTo>
                  <a:pt x="6089650" y="149543"/>
                </a:lnTo>
                <a:lnTo>
                  <a:pt x="3336607" y="3429000"/>
                </a:lnTo>
                <a:lnTo>
                  <a:pt x="6089650" y="6708394"/>
                </a:lnTo>
                <a:lnTo>
                  <a:pt x="6089650" y="6858000"/>
                </a:lnTo>
                <a:lnTo>
                  <a:pt x="4197350" y="6858000"/>
                </a:lnTo>
                <a:lnTo>
                  <a:pt x="2049907" y="4309428"/>
                </a:lnTo>
                <a:lnTo>
                  <a:pt x="1595311" y="4309301"/>
                </a:lnTo>
                <a:lnTo>
                  <a:pt x="159531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algn="l">
              <a:defRPr sz="11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insert image</a:t>
            </a:r>
          </a:p>
        </p:txBody>
      </p:sp>
    </p:spTree>
    <p:extLst>
      <p:ext uri="{BB962C8B-B14F-4D97-AF65-F5344CB8AC3E}">
        <p14:creationId xmlns:p14="http://schemas.microsoft.com/office/powerpoint/2010/main" val="4935039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3F9F64B-940B-43E0-8291-E8A36A1AE55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428999" y="381001"/>
            <a:ext cx="8382001" cy="5715000"/>
          </a:xfrm>
        </p:spPr>
        <p:txBody>
          <a:bodyPr/>
          <a:lstStyle>
            <a:lvl1pPr>
              <a:defRPr sz="2000" b="1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  <a:lvl3pPr marL="180975" indent="-179388">
              <a:defRPr/>
            </a:lvl3pPr>
            <a:lvl4pPr marL="357188" indent="-179388">
              <a:defRPr/>
            </a:lvl4pPr>
            <a:lvl5pPr marL="538163" indent="-179388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6F9B490-F790-4671-9748-99A165BDC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Key message. </a:t>
            </a:r>
            <a:br>
              <a:rPr lang="en-GB" dirty="0"/>
            </a:br>
            <a:r>
              <a:rPr lang="en-GB" dirty="0"/>
              <a:t>If the audience reads just this, it will be enough. Make every word count. Say it like you would in the room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85123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CAA8CDD-85D5-455D-B49F-664C574260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6237" y="381000"/>
            <a:ext cx="11434763" cy="5335587"/>
          </a:xfrm>
        </p:spPr>
        <p:txBody>
          <a:bodyPr/>
          <a:lstStyle>
            <a:lvl1pPr marL="1143000" marR="0" indent="-114300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1pPr>
            <a:lvl2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2pPr>
            <a:lvl3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3pPr>
            <a:lvl4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4pPr>
            <a:lvl5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4270730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C9093CB6-8F34-9640-9439-EDEDF08C59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381000"/>
            <a:ext cx="5334000" cy="3746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20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GB" dirty="0"/>
              <a:t>Overview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524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GB" dirty="0"/>
              <a:t>Set the scene.</a:t>
            </a:r>
            <a:br>
              <a:rPr lang="en-GB" dirty="0"/>
            </a:br>
            <a:r>
              <a:rPr lang="en-GB" dirty="0"/>
              <a:t>Cover the context.</a:t>
            </a:r>
          </a:p>
        </p:txBody>
      </p:sp>
      <p:sp>
        <p:nvSpPr>
          <p:cNvPr id="10" name="Picture Placeholder 17">
            <a:extLst>
              <a:ext uri="{FF2B5EF4-FFF2-40B4-BE49-F238E27FC236}">
                <a16:creationId xmlns:a16="http://schemas.microsoft.com/office/drawing/2014/main" id="{8ECEA818-F741-4C41-BBA4-A4DF4D5A939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600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1396302 h 6858000"/>
              <a:gd name="connsiteX3" fmla="*/ 3042920 w 6096000"/>
              <a:gd name="connsiteY3" fmla="*/ 1396302 h 6858000"/>
              <a:gd name="connsiteX4" fmla="*/ 3042920 w 6096000"/>
              <a:gd name="connsiteY4" fmla="*/ 3956241 h 6858000"/>
              <a:gd name="connsiteX5" fmla="*/ 6096000 w 6096000"/>
              <a:gd name="connsiteY5" fmla="*/ 3956241 h 6858000"/>
              <a:gd name="connsiteX6" fmla="*/ 6096000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1396302"/>
                </a:lnTo>
                <a:lnTo>
                  <a:pt x="3042920" y="1396302"/>
                </a:lnTo>
                <a:lnTo>
                  <a:pt x="3042920" y="3956241"/>
                </a:lnTo>
                <a:lnTo>
                  <a:pt x="6096000" y="3956241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image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351523DE-0CA4-4282-A867-9276960515C2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381000" y="3429000"/>
            <a:ext cx="5334000" cy="2659620"/>
          </a:xfrm>
        </p:spPr>
        <p:txBody>
          <a:bodyPr/>
          <a:lstStyle>
            <a:lvl1pPr marL="171450" indent="-17145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/>
            </a:lvl1pPr>
            <a:lvl2pPr marL="357188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/>
            </a:lvl2pPr>
            <a:lvl3pPr marL="538163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tabLst/>
              <a:defRPr b="0"/>
            </a:lvl3pPr>
            <a:lvl4pPr marL="3600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174403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3C986AE8-3283-B442-86B7-A93DD146B1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0" y="381000"/>
            <a:ext cx="5334000" cy="3746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20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GB" dirty="0"/>
              <a:t>Insigh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1524000"/>
            <a:ext cx="5334001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GB" dirty="0"/>
              <a:t>Make your case.</a:t>
            </a:r>
            <a:br>
              <a:rPr lang="en-GB" dirty="0"/>
            </a:br>
            <a:r>
              <a:rPr lang="en-GB" dirty="0"/>
              <a:t>Show the proof.</a:t>
            </a:r>
          </a:p>
        </p:txBody>
      </p:sp>
      <p:sp>
        <p:nvSpPr>
          <p:cNvPr id="8" name="Picture Placeholder 25">
            <a:extLst>
              <a:ext uri="{FF2B5EF4-FFF2-40B4-BE49-F238E27FC236}">
                <a16:creationId xmlns:a16="http://schemas.microsoft.com/office/drawing/2014/main" id="{69FC15C5-BD98-F947-A70A-B8ED272D992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096001" y="0"/>
            <a:ext cx="6096000" cy="6858001"/>
          </a:xfrm>
          <a:custGeom>
            <a:avLst/>
            <a:gdLst>
              <a:gd name="connsiteX0" fmla="*/ 5469890 w 7602411"/>
              <a:gd name="connsiteY0" fmla="*/ 1405953 h 6857999"/>
              <a:gd name="connsiteX1" fmla="*/ 3889312 w 7602411"/>
              <a:gd name="connsiteY1" fmla="*/ 5244020 h 6857999"/>
              <a:gd name="connsiteX2" fmla="*/ 7044690 w 7602411"/>
              <a:gd name="connsiteY2" fmla="*/ 5244020 h 6857999"/>
              <a:gd name="connsiteX3" fmla="*/ 2787650 w 7602411"/>
              <a:gd name="connsiteY3" fmla="*/ 0 h 6857999"/>
              <a:gd name="connsiteX4" fmla="*/ 7602411 w 7602411"/>
              <a:gd name="connsiteY4" fmla="*/ 0 h 6857999"/>
              <a:gd name="connsiteX5" fmla="*/ 7602411 w 7602411"/>
              <a:gd name="connsiteY5" fmla="*/ 6857999 h 6857999"/>
              <a:gd name="connsiteX6" fmla="*/ 0 w 7602411"/>
              <a:gd name="connsiteY6" fmla="*/ 6857999 h 6857999"/>
              <a:gd name="connsiteX7" fmla="*/ 646 w 7602411"/>
              <a:gd name="connsiteY7" fmla="*/ 6856411 h 6857999"/>
              <a:gd name="connsiteX8" fmla="*/ 1506411 w 7602411"/>
              <a:gd name="connsiteY8" fmla="*/ 6856411 h 6857999"/>
              <a:gd name="connsiteX9" fmla="*/ 1506411 w 7602411"/>
              <a:gd name="connsiteY9" fmla="*/ 3152023 h 6857999"/>
              <a:gd name="connsiteX0" fmla="*/ 5469890 w 7602411"/>
              <a:gd name="connsiteY0" fmla="*/ 1405953 h 6857999"/>
              <a:gd name="connsiteX1" fmla="*/ 3889312 w 7602411"/>
              <a:gd name="connsiteY1" fmla="*/ 5244020 h 6857999"/>
              <a:gd name="connsiteX2" fmla="*/ 7044690 w 7602411"/>
              <a:gd name="connsiteY2" fmla="*/ 5244020 h 6857999"/>
              <a:gd name="connsiteX3" fmla="*/ 5469890 w 7602411"/>
              <a:gd name="connsiteY3" fmla="*/ 1405953 h 6857999"/>
              <a:gd name="connsiteX4" fmla="*/ 2787650 w 7602411"/>
              <a:gd name="connsiteY4" fmla="*/ 0 h 6857999"/>
              <a:gd name="connsiteX5" fmla="*/ 7602411 w 7602411"/>
              <a:gd name="connsiteY5" fmla="*/ 0 h 6857999"/>
              <a:gd name="connsiteX6" fmla="*/ 7602411 w 7602411"/>
              <a:gd name="connsiteY6" fmla="*/ 6857999 h 6857999"/>
              <a:gd name="connsiteX7" fmla="*/ 0 w 7602411"/>
              <a:gd name="connsiteY7" fmla="*/ 6857999 h 6857999"/>
              <a:gd name="connsiteX8" fmla="*/ 1506411 w 7602411"/>
              <a:gd name="connsiteY8" fmla="*/ 6856411 h 6857999"/>
              <a:gd name="connsiteX9" fmla="*/ 1506411 w 7602411"/>
              <a:gd name="connsiteY9" fmla="*/ 3152023 h 6857999"/>
              <a:gd name="connsiteX10" fmla="*/ 2787650 w 7602411"/>
              <a:gd name="connsiteY10" fmla="*/ 0 h 6857999"/>
              <a:gd name="connsiteX0" fmla="*/ 3963479 w 6096000"/>
              <a:gd name="connsiteY0" fmla="*/ 1405953 h 6857999"/>
              <a:gd name="connsiteX1" fmla="*/ 2382901 w 6096000"/>
              <a:gd name="connsiteY1" fmla="*/ 5244020 h 6857999"/>
              <a:gd name="connsiteX2" fmla="*/ 5538279 w 6096000"/>
              <a:gd name="connsiteY2" fmla="*/ 5244020 h 6857999"/>
              <a:gd name="connsiteX3" fmla="*/ 3963479 w 6096000"/>
              <a:gd name="connsiteY3" fmla="*/ 1405953 h 6857999"/>
              <a:gd name="connsiteX4" fmla="*/ 1281239 w 6096000"/>
              <a:gd name="connsiteY4" fmla="*/ 0 h 6857999"/>
              <a:gd name="connsiteX5" fmla="*/ 6096000 w 6096000"/>
              <a:gd name="connsiteY5" fmla="*/ 0 h 6857999"/>
              <a:gd name="connsiteX6" fmla="*/ 6096000 w 6096000"/>
              <a:gd name="connsiteY6" fmla="*/ 6857999 h 6857999"/>
              <a:gd name="connsiteX7" fmla="*/ 0 w 6096000"/>
              <a:gd name="connsiteY7" fmla="*/ 6856411 h 6857999"/>
              <a:gd name="connsiteX8" fmla="*/ 0 w 6096000"/>
              <a:gd name="connsiteY8" fmla="*/ 3152023 h 6857999"/>
              <a:gd name="connsiteX9" fmla="*/ 1281239 w 6096000"/>
              <a:gd name="connsiteY9" fmla="*/ 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7999">
                <a:moveTo>
                  <a:pt x="3963479" y="1405953"/>
                </a:moveTo>
                <a:lnTo>
                  <a:pt x="2382901" y="5244020"/>
                </a:lnTo>
                <a:lnTo>
                  <a:pt x="5538279" y="5244020"/>
                </a:lnTo>
                <a:lnTo>
                  <a:pt x="3963479" y="1405953"/>
                </a:lnTo>
                <a:close/>
                <a:moveTo>
                  <a:pt x="1281239" y="0"/>
                </a:moveTo>
                <a:lnTo>
                  <a:pt x="6096000" y="0"/>
                </a:lnTo>
                <a:lnTo>
                  <a:pt x="6096000" y="6857999"/>
                </a:lnTo>
                <a:lnTo>
                  <a:pt x="0" y="6856411"/>
                </a:lnTo>
                <a:lnTo>
                  <a:pt x="0" y="3152023"/>
                </a:lnTo>
                <a:lnTo>
                  <a:pt x="1281239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>
                <a:tab pos="2309813" algn="l"/>
              </a:tabLst>
              <a:defRPr lang="en-US" dirty="0" smtClean="0"/>
            </a:lvl1pPr>
            <a:lvl9pPr marL="0" indent="360363">
              <a:tabLst/>
              <a:defRPr/>
            </a:lvl9pPr>
          </a:lstStyle>
          <a:p>
            <a:pPr marL="0" marR="0" lvl="8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image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FE6F8FD9-70DC-4391-AF4D-54977FF910AC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381000" y="3429000"/>
            <a:ext cx="5334000" cy="2659620"/>
          </a:xfrm>
        </p:spPr>
        <p:txBody>
          <a:bodyPr/>
          <a:lstStyle>
            <a:lvl1pPr marL="171450" indent="-17145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/>
            </a:lvl1pPr>
            <a:lvl2pPr marL="357188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/>
            </a:lvl2pPr>
            <a:lvl3pPr marL="538163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tabLst/>
              <a:defRPr b="0"/>
            </a:lvl3pPr>
            <a:lvl4pPr marL="3600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910671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CAA8CDD-85D5-455D-B49F-664C574260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6237" y="381000"/>
            <a:ext cx="11434763" cy="5335587"/>
          </a:xfrm>
        </p:spPr>
        <p:txBody>
          <a:bodyPr/>
          <a:lstStyle>
            <a:lvl1pPr marL="1143000" marR="0" indent="-114300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defRPr sz="6000" b="1">
                <a:solidFill>
                  <a:schemeClr val="tx2"/>
                </a:solidFill>
              </a:defRPr>
            </a:lvl1pPr>
            <a:lvl2pPr marL="955675" indent="-954088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  <a:defRPr sz="6000" b="1">
                <a:solidFill>
                  <a:schemeClr val="tx2"/>
                </a:solidFill>
              </a:defRPr>
            </a:lvl2pPr>
            <a:lvl3pPr marL="955675" indent="-954088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  <a:defRPr sz="6000" b="1">
                <a:solidFill>
                  <a:schemeClr val="tx2"/>
                </a:solidFill>
              </a:defRPr>
            </a:lvl3pPr>
            <a:lvl4pPr marL="955675" indent="-954088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  <a:defRPr sz="6000" b="1">
                <a:solidFill>
                  <a:schemeClr val="tx2"/>
                </a:solidFill>
              </a:defRPr>
            </a:lvl4pPr>
            <a:lvl5pPr marL="955675" indent="-954088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  <a:defRPr sz="6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88260997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98634137-7ABC-CE46-883D-3127AB6FA2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381000"/>
            <a:ext cx="5334000" cy="3746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20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GB" dirty="0"/>
              <a:t>Action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75495C2-4728-204B-897F-ADE6303F8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524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GB" dirty="0"/>
              <a:t>The ‘so what?’.</a:t>
            </a:r>
            <a:br>
              <a:rPr lang="en-GB" dirty="0"/>
            </a:br>
            <a:r>
              <a:rPr lang="en-GB" dirty="0"/>
              <a:t>How to make a change.</a:t>
            </a:r>
          </a:p>
        </p:txBody>
      </p:sp>
      <p:sp>
        <p:nvSpPr>
          <p:cNvPr id="10" name="Picture Placeholder 21">
            <a:extLst>
              <a:ext uri="{FF2B5EF4-FFF2-40B4-BE49-F238E27FC236}">
                <a16:creationId xmlns:a16="http://schemas.microsoft.com/office/drawing/2014/main" id="{D5BD39DB-569C-A74F-9D4A-0F8F871CD12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6000" y="2"/>
            <a:ext cx="6096000" cy="6857999"/>
          </a:xfrm>
          <a:custGeom>
            <a:avLst/>
            <a:gdLst>
              <a:gd name="connsiteX0" fmla="*/ 0 w 6096000"/>
              <a:gd name="connsiteY0" fmla="*/ 0 h 6857999"/>
              <a:gd name="connsiteX1" fmla="*/ 6096000 w 6096000"/>
              <a:gd name="connsiteY1" fmla="*/ 0 h 6857999"/>
              <a:gd name="connsiteX2" fmla="*/ 6096000 w 6096000"/>
              <a:gd name="connsiteY2" fmla="*/ 2991167 h 6857999"/>
              <a:gd name="connsiteX3" fmla="*/ 4011041 w 6096000"/>
              <a:gd name="connsiteY3" fmla="*/ 2255456 h 6857999"/>
              <a:gd name="connsiteX4" fmla="*/ 755015 w 6096000"/>
              <a:gd name="connsiteY4" fmla="*/ 2255456 h 6857999"/>
              <a:gd name="connsiteX5" fmla="*/ 755015 w 6096000"/>
              <a:gd name="connsiteY5" fmla="*/ 5548756 h 6857999"/>
              <a:gd name="connsiteX6" fmla="*/ 4011041 w 6096000"/>
              <a:gd name="connsiteY6" fmla="*/ 5548756 h 6857999"/>
              <a:gd name="connsiteX7" fmla="*/ 6096000 w 6096000"/>
              <a:gd name="connsiteY7" fmla="*/ 4758753 h 6857999"/>
              <a:gd name="connsiteX8" fmla="*/ 6096000 w 6096000"/>
              <a:gd name="connsiteY8" fmla="*/ 6857999 h 6857999"/>
              <a:gd name="connsiteX9" fmla="*/ 0 w 6096000"/>
              <a:gd name="connsiteY9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7999">
                <a:moveTo>
                  <a:pt x="0" y="0"/>
                </a:moveTo>
                <a:lnTo>
                  <a:pt x="6096000" y="0"/>
                </a:lnTo>
                <a:lnTo>
                  <a:pt x="6096000" y="2991167"/>
                </a:lnTo>
                <a:cubicBezTo>
                  <a:pt x="5805424" y="2561272"/>
                  <a:pt x="5195888" y="2255456"/>
                  <a:pt x="4011041" y="2255456"/>
                </a:cubicBezTo>
                <a:lnTo>
                  <a:pt x="755015" y="2255456"/>
                </a:lnTo>
                <a:lnTo>
                  <a:pt x="755015" y="5548756"/>
                </a:lnTo>
                <a:lnTo>
                  <a:pt x="4011041" y="5548756"/>
                </a:lnTo>
                <a:cubicBezTo>
                  <a:pt x="5209794" y="5548756"/>
                  <a:pt x="5810758" y="5204269"/>
                  <a:pt x="6096000" y="4758753"/>
                </a:cubicBezTo>
                <a:lnTo>
                  <a:pt x="6096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9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9pPr>
          </a:lstStyle>
          <a:p>
            <a:pPr marL="0" marR="0" lvl="8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image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96DAFEEB-7D02-43C9-8DCE-D1B158CB7688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381000" y="3429000"/>
            <a:ext cx="5334000" cy="2659620"/>
          </a:xfrm>
        </p:spPr>
        <p:txBody>
          <a:bodyPr/>
          <a:lstStyle>
            <a:lvl1pPr marL="171450" indent="-17145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/>
            </a:lvl1pPr>
            <a:lvl2pPr marL="357188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/>
            </a:lvl2pPr>
            <a:lvl3pPr marL="538163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tabLst/>
              <a:defRPr b="0"/>
            </a:lvl3pPr>
            <a:lvl4pPr marL="3600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955525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01EA128-4E92-46A3-B8EE-474F087E3FF2}"/>
              </a:ext>
            </a:extLst>
          </p:cNvPr>
          <p:cNvSpPr/>
          <p:nvPr userDrawn="1"/>
        </p:nvSpPr>
        <p:spPr>
          <a:xfrm>
            <a:off x="11064552" y="6536518"/>
            <a:ext cx="828092" cy="2520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C9093CB6-8F34-9640-9439-EDEDF08C59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381000"/>
            <a:ext cx="5334000" cy="3746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20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GB" dirty="0"/>
              <a:t>Appendix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524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GB" dirty="0"/>
              <a:t>For further reading.</a:t>
            </a:r>
          </a:p>
        </p:txBody>
      </p:sp>
      <p:sp>
        <p:nvSpPr>
          <p:cNvPr id="10" name="Picture Placeholder 17">
            <a:extLst>
              <a:ext uri="{FF2B5EF4-FFF2-40B4-BE49-F238E27FC236}">
                <a16:creationId xmlns:a16="http://schemas.microsoft.com/office/drawing/2014/main" id="{F77725FD-D57B-3A41-8390-15C08788EB1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6000" y="2"/>
            <a:ext cx="6096000" cy="6857999"/>
          </a:xfrm>
          <a:custGeom>
            <a:avLst/>
            <a:gdLst>
              <a:gd name="connsiteX0" fmla="*/ 0 w 6096000"/>
              <a:gd name="connsiteY0" fmla="*/ 0 h 6857999"/>
              <a:gd name="connsiteX1" fmla="*/ 5274058 w 6096000"/>
              <a:gd name="connsiteY1" fmla="*/ 0 h 6857999"/>
              <a:gd name="connsiteX2" fmla="*/ 6096000 w 6096000"/>
              <a:gd name="connsiteY2" fmla="*/ 1098549 h 6857999"/>
              <a:gd name="connsiteX3" fmla="*/ 6096000 w 6096000"/>
              <a:gd name="connsiteY3" fmla="*/ 6663118 h 6857999"/>
              <a:gd name="connsiteX4" fmla="*/ 3179953 w 6096000"/>
              <a:gd name="connsiteY4" fmla="*/ 2769996 h 6857999"/>
              <a:gd name="connsiteX5" fmla="*/ 3179890 w 6096000"/>
              <a:gd name="connsiteY5" fmla="*/ 6857999 h 6857999"/>
              <a:gd name="connsiteX6" fmla="*/ 0 w 6096000"/>
              <a:gd name="connsiteY6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6000" h="6857999">
                <a:moveTo>
                  <a:pt x="0" y="0"/>
                </a:moveTo>
                <a:lnTo>
                  <a:pt x="5274058" y="0"/>
                </a:lnTo>
                <a:lnTo>
                  <a:pt x="6096000" y="1098549"/>
                </a:lnTo>
                <a:lnTo>
                  <a:pt x="6096000" y="6663118"/>
                </a:lnTo>
                <a:lnTo>
                  <a:pt x="3179953" y="2769996"/>
                </a:lnTo>
                <a:lnTo>
                  <a:pt x="317989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image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90172A89-27F1-48CB-B53F-3DD6FAC7D96F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381000" y="3429000"/>
            <a:ext cx="5334000" cy="2659620"/>
          </a:xfrm>
        </p:spPr>
        <p:txBody>
          <a:bodyPr/>
          <a:lstStyle>
            <a:lvl1pPr marL="171450" indent="-17145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/>
            </a:lvl1pPr>
            <a:lvl2pPr marL="357188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/>
            </a:lvl2pPr>
            <a:lvl3pPr marL="538163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tabLst/>
              <a:defRPr b="0"/>
            </a:lvl3pPr>
            <a:lvl4pPr marL="3600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5710022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1000"/>
            <a:ext cx="5334000" cy="267017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en-GB" sz="3800" b="1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en-GB" b="1" dirty="0">
                <a:effectLst/>
                <a:latin typeface="Arial" panose="020B0604020202020204" pitchFamily="34" charset="0"/>
              </a:rPr>
              <a:t>Add an optional sub-chapter that supports the narrative</a:t>
            </a:r>
            <a:endParaRPr lang="en-GB" dirty="0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17145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AE1E5AF-43EF-49CD-A70B-FBA2BCAA3F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Key message. </a:t>
            </a:r>
            <a:br>
              <a:rPr lang="en-GB" dirty="0"/>
            </a:br>
            <a:r>
              <a:rPr lang="en-GB" dirty="0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32636605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1000"/>
            <a:ext cx="5334000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GB" dirty="0"/>
              <a:t>Key message. 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24623420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54C3A91-5A88-6F49-B31C-7C3C6EB2A6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9000" y="381000"/>
            <a:ext cx="3810000" cy="37465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 dirty="0"/>
              <a:t>Heading: Make your point.</a:t>
            </a:r>
          </a:p>
          <a:p>
            <a:pPr lvl="1"/>
            <a:r>
              <a:rPr lang="en-GB" dirty="0"/>
              <a:t>Sub-heading: Add supporting detail.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5A75C044-EF0B-6A4F-907C-515927B913F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620000" y="381000"/>
            <a:ext cx="4191000" cy="37465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 dirty="0"/>
              <a:t>Heading: Make your point.</a:t>
            </a:r>
          </a:p>
          <a:p>
            <a:pPr lvl="1"/>
            <a:r>
              <a:rPr lang="en-GB" dirty="0"/>
              <a:t>Sub-heading: Add supporting detail.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25C4D7CF-6868-C642-B298-65F96507D5DD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429000" y="1143000"/>
            <a:ext cx="3810000" cy="4949825"/>
          </a:xfrm>
        </p:spPr>
        <p:txBody>
          <a:bodyPr tIns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This is where you make your case with relevant evidence and information. Keep sentences concise. Avoid jargon and repetition.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2878B453-1C2F-7042-9F43-39BF515D313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7620000" y="1143000"/>
            <a:ext cx="4191000" cy="4949825"/>
          </a:xfrm>
        </p:spPr>
        <p:txBody>
          <a:bodyPr tIns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noProof="0" dirty="0"/>
              <a:t>This is where you make your case with relevant evidence and information. Keep sentences concise. Avoid jargon and repetition.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B0940F-7986-44EB-815A-44B573162D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Key message. </a:t>
            </a:r>
            <a:br>
              <a:rPr lang="en-US" dirty="0"/>
            </a:br>
            <a:r>
              <a:rPr lang="en-US" dirty="0"/>
              <a:t>If the audience reads just this, it will be enough. Make every word count. Say it like you would in the room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36145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43525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GB" dirty="0"/>
              <a:t>Key message. If the audience reads just this, it will be enough. Make every word count. Say it like you would in the room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4FEF0F-449D-494E-B003-BA0DE42F61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1001" y="1905000"/>
            <a:ext cx="5334000" cy="41878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DA243C-D223-024A-A211-1CD96C9037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76999" y="1905000"/>
            <a:ext cx="5334001" cy="41878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17919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>
          <a:xfrm>
            <a:off x="2867430" y="-1587"/>
            <a:ext cx="322857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3054350" cy="1661993"/>
          </a:xfrm>
        </p:spPr>
        <p:txBody>
          <a:bodyPr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en-GB" dirty="0"/>
              <a:t>Key message. If the audience reads just this, it will be enough. Make every word count. Say it like you would in the room.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D9B22EF-051C-6641-8F7F-89A2A4B7EB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1001" y="2674577"/>
            <a:ext cx="5334000" cy="387798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 dirty="0"/>
              <a:t>Heading: Make your point.</a:t>
            </a:r>
          </a:p>
          <a:p>
            <a:pPr lvl="1"/>
            <a:r>
              <a:rPr lang="en-GB" dirty="0"/>
              <a:t>Sub-heading: Add supporting detail.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399D3F24-168F-0048-B757-0FF955AB95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6999" y="2674577"/>
            <a:ext cx="5330825" cy="387798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 dirty="0"/>
              <a:t>Heading: Make your point.</a:t>
            </a:r>
          </a:p>
          <a:p>
            <a:pPr lvl="1"/>
            <a:r>
              <a:rPr lang="en-GB" dirty="0"/>
              <a:t>Sub-heading: Add supporting detail.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03E6240C-8A72-5E4B-AB37-5294174930C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0" y="381000"/>
            <a:ext cx="1896127" cy="190023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picture</a:t>
            </a:r>
          </a:p>
        </p:txBody>
      </p:sp>
      <p:sp>
        <p:nvSpPr>
          <p:cNvPr id="24" name="Picture Placeholder 21">
            <a:extLst>
              <a:ext uri="{FF2B5EF4-FFF2-40B4-BE49-F238E27FC236}">
                <a16:creationId xmlns:a16="http://schemas.microsoft.com/office/drawing/2014/main" id="{98274983-141A-0E4E-9962-52D8DCCA7EF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901237" y="381000"/>
            <a:ext cx="1906587" cy="190023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picture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B95D0E9-C4E7-4A4E-8FC1-1B47E3F4358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81000" y="3429000"/>
            <a:ext cx="5334000" cy="2666999"/>
          </a:xfrm>
        </p:spPr>
        <p:txBody>
          <a:bodyPr tIns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9" name="Text Placeholder 16">
            <a:extLst>
              <a:ext uri="{FF2B5EF4-FFF2-40B4-BE49-F238E27FC236}">
                <a16:creationId xmlns:a16="http://schemas.microsoft.com/office/drawing/2014/main" id="{D15AF06C-0067-9540-9FEA-E269C3D5CFD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476999" y="3429000"/>
            <a:ext cx="5330825" cy="2666999"/>
          </a:xfrm>
        </p:spPr>
        <p:txBody>
          <a:bodyPr tIns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6432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>
          <a:xfrm>
            <a:off x="2867430" y="-1587"/>
            <a:ext cx="322857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1000"/>
            <a:ext cx="5334000" cy="830997"/>
          </a:xfrm>
        </p:spPr>
        <p:txBody>
          <a:bodyPr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en-GB" dirty="0"/>
              <a:t>Key message. If the audience reads just this, it will be enough. Make every word count. Say it like you would in the room.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DA243C-D223-024A-A211-1CD96C9037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77000" y="1143000"/>
            <a:ext cx="5334000" cy="4949825"/>
          </a:xfrm>
        </p:spPr>
        <p:txBody>
          <a:bodyPr tIns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D9B22EF-051C-6641-8F7F-89A2A4B7EB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1001" y="2286000"/>
            <a:ext cx="5334000" cy="37953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 dirty="0"/>
              <a:t>Heading: Make your point.</a:t>
            </a:r>
          </a:p>
          <a:p>
            <a:pPr lvl="1"/>
            <a:r>
              <a:rPr lang="en-GB" dirty="0"/>
              <a:t>Sub-heading: Add supporting detail.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399D3F24-168F-0048-B757-0FF955AB95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6999" y="381000"/>
            <a:ext cx="5334001" cy="37465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 dirty="0"/>
              <a:t>Heading: Make your point.</a:t>
            </a:r>
          </a:p>
          <a:p>
            <a:pPr lvl="1"/>
            <a:r>
              <a:rPr lang="en-GB" dirty="0"/>
              <a:t>Sub-heading: Add supporting detail.</a:t>
            </a:r>
          </a:p>
        </p:txBody>
      </p:sp>
      <p:sp>
        <p:nvSpPr>
          <p:cNvPr id="30" name="Text Placeholder 16">
            <a:extLst>
              <a:ext uri="{FF2B5EF4-FFF2-40B4-BE49-F238E27FC236}">
                <a16:creationId xmlns:a16="http://schemas.microsoft.com/office/drawing/2014/main" id="{E26E4537-E8EA-A44C-81E4-2AA24ECCA08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81001" y="3048000"/>
            <a:ext cx="2286000" cy="3044825"/>
          </a:xfrm>
        </p:spPr>
        <p:txBody>
          <a:bodyPr tIns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F9A2B3B9-BB65-4C08-B029-229E91D03C9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429000" y="3048000"/>
            <a:ext cx="2286000" cy="3044825"/>
          </a:xfrm>
        </p:spPr>
        <p:txBody>
          <a:bodyPr tIns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26151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lleng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5897343-393D-0E44-A97B-2079B348B1F9}"/>
              </a:ext>
            </a:extLst>
          </p:cNvPr>
          <p:cNvSpPr/>
          <p:nvPr userDrawn="1"/>
        </p:nvSpPr>
        <p:spPr>
          <a:xfrm>
            <a:off x="3044825" y="0"/>
            <a:ext cx="4575175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631238-F440-4B1F-8D7B-809C61CB62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Key message. </a:t>
            </a:r>
            <a:br>
              <a:rPr lang="en-GB" dirty="0"/>
            </a:br>
            <a:r>
              <a:rPr lang="en-GB" dirty="0"/>
              <a:t>If the audience reads just this, it will be enough. Make every word count. Say it like you would in the room.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D95ABA3D-BEC2-4D38-9AFA-4954F306F2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04175" y="381000"/>
            <a:ext cx="3806826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 dirty="0"/>
              <a:t>Heading: Make your point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D8852F4-3A40-41CF-8793-5F648FBC7E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29000" y="381000"/>
            <a:ext cx="3810000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 dirty="0"/>
              <a:t>Heading: Make your point.</a:t>
            </a:r>
          </a:p>
        </p:txBody>
      </p:sp>
    </p:spTree>
    <p:extLst>
      <p:ext uri="{BB962C8B-B14F-4D97-AF65-F5344CB8AC3E}">
        <p14:creationId xmlns:p14="http://schemas.microsoft.com/office/powerpoint/2010/main" val="30739531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C9093CB6-8F34-9640-9439-EDEDF08C59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381000"/>
            <a:ext cx="5334000" cy="374650"/>
          </a:xfrm>
        </p:spPr>
        <p:txBody>
          <a:bodyPr>
            <a:noAutofit/>
          </a:bodyPr>
          <a:lstStyle>
            <a:lvl1pPr marL="0" inden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sz="2000" b="1">
                <a:solidFill>
                  <a:schemeClr val="tx2"/>
                </a:solidFill>
              </a:defRPr>
            </a:lvl1pPr>
            <a:lvl2pPr marL="0" indent="0">
              <a:spcBef>
                <a:spcPct val="0"/>
              </a:spcBef>
              <a:spcAft>
                <a:spcPct val="0"/>
              </a:spcAft>
              <a:buNone/>
              <a:defRPr/>
            </a:lvl2pPr>
            <a:lvl3pPr marL="0" indent="0">
              <a:spcBef>
                <a:spcPct val="0"/>
              </a:spcBef>
              <a:spcAft>
                <a:spcPct val="0"/>
              </a:spcAft>
              <a:buNone/>
              <a:defRPr/>
            </a:lvl3pPr>
            <a:lvl4pPr marL="0" indent="0">
              <a:spcBef>
                <a:spcPct val="0"/>
              </a:spcBef>
              <a:spcAft>
                <a:spcPct val="0"/>
              </a:spcAft>
              <a:buNone/>
              <a:defRPr/>
            </a:lvl4pPr>
            <a:lvl5pPr marL="0" indent="0">
              <a:spcBef>
                <a:spcPct val="0"/>
              </a:spcBef>
              <a:spcAft>
                <a:spcPct val="0"/>
              </a:spcAft>
              <a:buNone/>
              <a:defRPr/>
            </a:lvl5pPr>
          </a:lstStyle>
          <a:p>
            <a:pPr lvl="0"/>
            <a:r>
              <a:rPr lang="en-GB"/>
              <a:t>Overview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524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 sz="3800"/>
            </a:lvl1pPr>
          </a:lstStyle>
          <a:p>
            <a:r>
              <a:rPr lang="en-GB"/>
              <a:t>Set the scene.</a:t>
            </a:r>
            <a:br>
              <a:rPr lang="en-GB"/>
            </a:br>
            <a:r>
              <a:rPr lang="en-GB"/>
              <a:t>Cover the context.</a:t>
            </a:r>
          </a:p>
        </p:txBody>
      </p:sp>
      <p:sp>
        <p:nvSpPr>
          <p:cNvPr id="10" name="Picture Placeholder 17">
            <a:extLst>
              <a:ext uri="{FF2B5EF4-FFF2-40B4-BE49-F238E27FC236}">
                <a16:creationId xmlns:a16="http://schemas.microsoft.com/office/drawing/2014/main" id="{8ECEA818-F741-4C41-BBA4-A4DF4D5A939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600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1396302 h 6858000"/>
              <a:gd name="connsiteX3" fmla="*/ 3042920 w 6096000"/>
              <a:gd name="connsiteY3" fmla="*/ 1396302 h 6858000"/>
              <a:gd name="connsiteX4" fmla="*/ 3042920 w 6096000"/>
              <a:gd name="connsiteY4" fmla="*/ 3956241 h 6858000"/>
              <a:gd name="connsiteX5" fmla="*/ 6096000 w 6096000"/>
              <a:gd name="connsiteY5" fmla="*/ 3956241 h 6858000"/>
              <a:gd name="connsiteX6" fmla="*/ 6096000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1396302"/>
                </a:lnTo>
                <a:lnTo>
                  <a:pt x="3042920" y="1396302"/>
                </a:lnTo>
                <a:lnTo>
                  <a:pt x="3042920" y="3956241"/>
                </a:lnTo>
                <a:lnTo>
                  <a:pt x="6096000" y="3956241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defRPr sz="11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/>
              <a:t>Click to insert image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351523DE-0CA4-4282-A867-9276960515C2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381000" y="3429000"/>
            <a:ext cx="5334000" cy="2659620"/>
          </a:xfrm>
        </p:spPr>
        <p:txBody>
          <a:bodyPr/>
          <a:lstStyle>
            <a:lvl1pPr marL="171450" indent="-17145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b="0"/>
            </a:lvl1pPr>
            <a:lvl2pPr marL="357188" indent="-179388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b="0"/>
            </a:lvl2pPr>
            <a:lvl3pPr marL="538163" indent="-179388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defRPr b="0"/>
            </a:lvl3pPr>
            <a:lvl4pPr marL="3600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8442373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CD7508A2-A0AF-4811-ACA1-FC84D131531A}"/>
              </a:ext>
            </a:extLst>
          </p:cNvPr>
          <p:cNvSpPr/>
          <p:nvPr userDrawn="1"/>
        </p:nvSpPr>
        <p:spPr>
          <a:xfrm>
            <a:off x="-7168" y="3429000"/>
            <a:ext cx="6101581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AA1EFBD-66C8-4081-AADF-2B4A352FE64D}"/>
              </a:ext>
            </a:extLst>
          </p:cNvPr>
          <p:cNvSpPr/>
          <p:nvPr userDrawn="1"/>
        </p:nvSpPr>
        <p:spPr>
          <a:xfrm>
            <a:off x="0" y="-1587"/>
            <a:ext cx="6096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Picture Placeholder 21">
            <a:extLst>
              <a:ext uri="{FF2B5EF4-FFF2-40B4-BE49-F238E27FC236}">
                <a16:creationId xmlns:a16="http://schemas.microsoft.com/office/drawing/2014/main" id="{3448625E-017A-4951-9ED5-25641345A0F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044825" y="-1587"/>
            <a:ext cx="3051175" cy="34305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picture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3F9026C0-8F42-4CC3-A918-0320C9FEE43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7001" y="381000"/>
            <a:ext cx="5334000" cy="374648"/>
          </a:xfrm>
        </p:spPr>
        <p:txBody>
          <a:bodyPr wrap="square" lIns="0" tIns="0" rIns="0" bIns="0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 dirty="0"/>
              <a:t>Selected consulting engagement experience (X years)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D364477-0314-4F10-9D10-E2EF9653C5E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80999" y="3638446"/>
            <a:ext cx="2667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 dirty="0"/>
              <a:t>Areas of Expertis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F7FD24E3-E069-4B35-9C18-F463735BC89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428999" y="3638446"/>
            <a:ext cx="2286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 dirty="0"/>
              <a:t>Educ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3B904A-F76F-4A89-9C9D-B0B0D1D3C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Surname Name</a:t>
            </a:r>
            <a:br>
              <a:rPr lang="en-GB" dirty="0"/>
            </a:br>
            <a:r>
              <a:rPr lang="en-GB" b="0" dirty="0"/>
              <a:t>Position, Office, Country</a:t>
            </a:r>
            <a:endParaRPr lang="en-GB" dirty="0"/>
          </a:p>
        </p:txBody>
      </p:sp>
      <p:grpSp>
        <p:nvGrpSpPr>
          <p:cNvPr id="35" name="Graphic 19">
            <a:extLst>
              <a:ext uri="{FF2B5EF4-FFF2-40B4-BE49-F238E27FC236}">
                <a16:creationId xmlns:a16="http://schemas.microsoft.com/office/drawing/2014/main" id="{0DF2BC8F-BD6E-4BED-A9DD-8DCAEA9A50D4}"/>
              </a:ext>
            </a:extLst>
          </p:cNvPr>
          <p:cNvGrpSpPr/>
          <p:nvPr userDrawn="1"/>
        </p:nvGrpSpPr>
        <p:grpSpPr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36" name="Freeform 21">
              <a:extLst>
                <a:ext uri="{FF2B5EF4-FFF2-40B4-BE49-F238E27FC236}">
                  <a16:creationId xmlns:a16="http://schemas.microsoft.com/office/drawing/2014/main" id="{AC1D5788-EC41-4A64-9CD3-6E3CB88E41EC}"/>
                </a:ext>
              </a:extLst>
            </p:cNvPr>
            <p:cNvSpPr/>
            <p:nvPr/>
          </p:nvSpPr>
          <p:spPr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22">
              <a:extLst>
                <a:ext uri="{FF2B5EF4-FFF2-40B4-BE49-F238E27FC236}">
                  <a16:creationId xmlns:a16="http://schemas.microsoft.com/office/drawing/2014/main" id="{009902B4-2695-4527-B5C8-31F48F2A9654}"/>
                </a:ext>
              </a:extLst>
            </p:cNvPr>
            <p:cNvSpPr/>
            <p:nvPr/>
          </p:nvSpPr>
          <p:spPr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Freeform 23">
              <a:extLst>
                <a:ext uri="{FF2B5EF4-FFF2-40B4-BE49-F238E27FC236}">
                  <a16:creationId xmlns:a16="http://schemas.microsoft.com/office/drawing/2014/main" id="{D3AD1063-D2B8-4B6A-A86D-08AD8E37AAD7}"/>
                </a:ext>
              </a:extLst>
            </p:cNvPr>
            <p:cNvSpPr/>
            <p:nvPr/>
          </p:nvSpPr>
          <p:spPr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24">
              <a:extLst>
                <a:ext uri="{FF2B5EF4-FFF2-40B4-BE49-F238E27FC236}">
                  <a16:creationId xmlns:a16="http://schemas.microsoft.com/office/drawing/2014/main" id="{27E78175-02A9-436A-96A2-9F5365F56578}"/>
                </a:ext>
              </a:extLst>
            </p:cNvPr>
            <p:cNvSpPr/>
            <p:nvPr/>
          </p:nvSpPr>
          <p:spPr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25">
              <a:extLst>
                <a:ext uri="{FF2B5EF4-FFF2-40B4-BE49-F238E27FC236}">
                  <a16:creationId xmlns:a16="http://schemas.microsoft.com/office/drawing/2014/main" id="{17E9070A-F511-4A5B-9153-39FEE2463F81}"/>
                </a:ext>
              </a:extLst>
            </p:cNvPr>
            <p:cNvSpPr/>
            <p:nvPr/>
          </p:nvSpPr>
          <p:spPr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241166F2-3E56-4401-B77D-EB0307B39A0C}"/>
                </a:ext>
              </a:extLst>
            </p:cNvPr>
            <p:cNvSpPr/>
            <p:nvPr/>
          </p:nvSpPr>
          <p:spPr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5F257939-AA22-4BDE-B164-A41F0FA3F5A1}"/>
                </a:ext>
              </a:extLst>
            </p:cNvPr>
            <p:cNvSpPr/>
            <p:nvPr/>
          </p:nvSpPr>
          <p:spPr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BEAE6D84-B6DD-4EDD-AF9D-0557698E1334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80999" y="4014091"/>
            <a:ext cx="2666746" cy="2074529"/>
          </a:xfrm>
        </p:spPr>
        <p:txBody>
          <a:bodyPr/>
          <a:lstStyle>
            <a:lvl1pPr marL="171450" indent="-17145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1pPr>
            <a:lvl2pPr marL="357188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2pPr>
            <a:lvl3pPr marL="538163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tabLst/>
              <a:defRPr/>
            </a:lvl3pPr>
            <a:lvl4pPr marL="3600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Content Placeholder 4">
            <a:extLst>
              <a:ext uri="{FF2B5EF4-FFF2-40B4-BE49-F238E27FC236}">
                <a16:creationId xmlns:a16="http://schemas.microsoft.com/office/drawing/2014/main" id="{5F7F1EA4-C814-480F-B003-45406D81DE96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3427396" y="4014091"/>
            <a:ext cx="2285783" cy="2074529"/>
          </a:xfrm>
        </p:spPr>
        <p:txBody>
          <a:bodyPr/>
          <a:lstStyle>
            <a:lvl1pPr marL="171450" indent="-17145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1pPr>
            <a:lvl2pPr marL="357188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2pPr>
            <a:lvl3pPr marL="538163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tabLst/>
              <a:defRPr/>
            </a:lvl3pPr>
            <a:lvl4pPr marL="3600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Content Placeholder 4">
            <a:extLst>
              <a:ext uri="{FF2B5EF4-FFF2-40B4-BE49-F238E27FC236}">
                <a16:creationId xmlns:a16="http://schemas.microsoft.com/office/drawing/2014/main" id="{456734BC-EC09-4012-BD47-6165A89575FC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6477000" y="1143000"/>
            <a:ext cx="2286000" cy="4945620"/>
          </a:xfrm>
        </p:spPr>
        <p:txBody>
          <a:bodyPr/>
          <a:lstStyle>
            <a:lvl1pPr marL="171450" indent="-17145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1pPr>
            <a:lvl2pPr marL="357188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2pPr>
            <a:lvl3pPr marL="538163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tabLst/>
              <a:defRPr/>
            </a:lvl3pPr>
            <a:lvl4pPr marL="3600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8" name="Content Placeholder 4">
            <a:extLst>
              <a:ext uri="{FF2B5EF4-FFF2-40B4-BE49-F238E27FC236}">
                <a16:creationId xmlns:a16="http://schemas.microsoft.com/office/drawing/2014/main" id="{E1879581-F0A3-47CC-B8BA-91D70E6D12AD}"/>
              </a:ext>
            </a:extLst>
          </p:cNvPr>
          <p:cNvSpPr>
            <a:spLocks noGrp="1"/>
          </p:cNvSpPr>
          <p:nvPr>
            <p:ph sz="quarter" idx="42"/>
          </p:nvPr>
        </p:nvSpPr>
        <p:spPr>
          <a:xfrm>
            <a:off x="9525000" y="1143000"/>
            <a:ext cx="2286000" cy="4945620"/>
          </a:xfrm>
        </p:spPr>
        <p:txBody>
          <a:bodyPr/>
          <a:lstStyle>
            <a:lvl1pPr marL="171450" indent="-17145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1pPr>
            <a:lvl2pPr marL="357188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2pPr>
            <a:lvl3pPr marL="538163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tabLst/>
              <a:defRPr/>
            </a:lvl3pPr>
            <a:lvl4pPr marL="3600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3D7114F-F639-4ADE-A59A-1DE07A41E53F}"/>
              </a:ext>
            </a:extLst>
          </p:cNvPr>
          <p:cNvSpPr txBox="1"/>
          <p:nvPr userDrawn="1"/>
        </p:nvSpPr>
        <p:spPr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 dirty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83861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7F5CAB5-F976-4C40-89AE-9A89E9C4AC4F}"/>
              </a:ext>
            </a:extLst>
          </p:cNvPr>
          <p:cNvSpPr/>
          <p:nvPr userDrawn="1"/>
        </p:nvSpPr>
        <p:spPr>
          <a:xfrm>
            <a:off x="3048002" y="0"/>
            <a:ext cx="304799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3B78D11-144A-4B42-AA51-7E5FE4BFDAC3}"/>
              </a:ext>
            </a:extLst>
          </p:cNvPr>
          <p:cNvSpPr/>
          <p:nvPr userDrawn="1"/>
        </p:nvSpPr>
        <p:spPr>
          <a:xfrm>
            <a:off x="6096000" y="0"/>
            <a:ext cx="3048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CF47EE3-F5CB-4E44-BC68-EC24C6779C1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048000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796EB4AD-659A-9A47-B141-976732FEBC0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96000" y="0"/>
            <a:ext cx="3048000" cy="2663825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19">
            <a:extLst>
              <a:ext uri="{FF2B5EF4-FFF2-40B4-BE49-F238E27FC236}">
                <a16:creationId xmlns:a16="http://schemas.microsoft.com/office/drawing/2014/main" id="{8DFD1BD5-98E0-0947-9140-940DFF97013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147359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4CBE62D-52E2-4C4C-AF6E-96D1E5707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9001" y="3048000"/>
            <a:ext cx="2285999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GB" dirty="0"/>
              <a:t>Name and Surname</a:t>
            </a:r>
          </a:p>
          <a:p>
            <a:pPr lvl="1"/>
            <a:r>
              <a:rPr lang="en-GB" dirty="0"/>
              <a:t>Job title and location second level</a:t>
            </a:r>
          </a:p>
          <a:p>
            <a:pPr lvl="2"/>
            <a:r>
              <a:rPr lang="en-GB" dirty="0"/>
              <a:t>Summary of experience third level</a:t>
            </a:r>
          </a:p>
          <a:p>
            <a:pPr lvl="3"/>
            <a:r>
              <a:rPr lang="en-GB" dirty="0"/>
              <a:t>Fourth level bullet</a:t>
            </a:r>
          </a:p>
          <a:p>
            <a:pPr lvl="4"/>
            <a:r>
              <a:rPr lang="en-GB" dirty="0"/>
              <a:t>Fifth level bullet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1C3C4FE2-D60A-3C44-A1A2-F63809BB1E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77001" y="3048000"/>
            <a:ext cx="228600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GB" dirty="0"/>
              <a:t>Name and Surname</a:t>
            </a:r>
          </a:p>
          <a:p>
            <a:pPr lvl="1"/>
            <a:r>
              <a:rPr lang="en-GB" dirty="0"/>
              <a:t>Job title and location second level</a:t>
            </a:r>
          </a:p>
          <a:p>
            <a:pPr lvl="2"/>
            <a:r>
              <a:rPr lang="en-GB" dirty="0"/>
              <a:t>Summary of experience third level</a:t>
            </a:r>
          </a:p>
          <a:p>
            <a:pPr lvl="3"/>
            <a:r>
              <a:rPr lang="en-GB" dirty="0"/>
              <a:t>Fourth level bullet</a:t>
            </a:r>
          </a:p>
          <a:p>
            <a:pPr lvl="4"/>
            <a:r>
              <a:rPr lang="en-GB" dirty="0"/>
              <a:t>Fifth level bullet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39E6F826-10D9-8247-8889-29223C7F84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0" y="3048000"/>
            <a:ext cx="228936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GB" dirty="0"/>
              <a:t>Name and Surname</a:t>
            </a:r>
          </a:p>
          <a:p>
            <a:pPr lvl="1"/>
            <a:r>
              <a:rPr lang="en-GB" dirty="0"/>
              <a:t>Job title and location second level</a:t>
            </a:r>
          </a:p>
          <a:p>
            <a:pPr lvl="2"/>
            <a:r>
              <a:rPr lang="en-GB" dirty="0"/>
              <a:t>Summary of experience third level</a:t>
            </a:r>
          </a:p>
          <a:p>
            <a:pPr lvl="3"/>
            <a:r>
              <a:rPr lang="en-GB" dirty="0"/>
              <a:t>Fourth level bullet</a:t>
            </a:r>
          </a:p>
          <a:p>
            <a:pPr lvl="4"/>
            <a:r>
              <a:rPr lang="en-GB" dirty="0"/>
              <a:t>Fifth level bulle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468541-A21A-46F7-AFC4-CBC98C325E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2285999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Key message. </a:t>
            </a:r>
            <a:br>
              <a:rPr lang="en-GB" dirty="0"/>
            </a:br>
            <a:r>
              <a:rPr lang="en-GB" dirty="0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39822916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66F4BDBA-8A7A-4151-9891-CE2FF8030BCB}"/>
              </a:ext>
            </a:extLst>
          </p:cNvPr>
          <p:cNvSpPr/>
          <p:nvPr userDrawn="1"/>
        </p:nvSpPr>
        <p:spPr>
          <a:xfrm>
            <a:off x="3048000" y="0"/>
            <a:ext cx="4572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A6D9F4-AFFE-40C2-A711-D5F9F9523EA2}"/>
              </a:ext>
            </a:extLst>
          </p:cNvPr>
          <p:cNvSpPr/>
          <p:nvPr userDrawn="1"/>
        </p:nvSpPr>
        <p:spPr>
          <a:xfrm>
            <a:off x="3048000" y="3429000"/>
            <a:ext cx="4572000" cy="3429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F887B0-D81F-4D6E-8490-01166A357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Key message. </a:t>
            </a:r>
            <a:br>
              <a:rPr lang="en-GB" dirty="0"/>
            </a:br>
            <a:r>
              <a:rPr lang="en-GB" dirty="0"/>
              <a:t>If the audience reads just this, it will be enough. Make every word count. Say it like you would in the room.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2F01B772-E707-4318-AFF4-D233B7291D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8973" y="381000"/>
            <a:ext cx="3810000" cy="3574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 dirty="0"/>
              <a:t>Situation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9F9E8AE9-DD63-4653-988B-3750118E13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73" y="3809999"/>
            <a:ext cx="3810000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 dirty="0"/>
              <a:t>Approach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7F035056-C297-4E3D-A5DA-D866119582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00999" y="3809999"/>
            <a:ext cx="3810001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 dirty="0"/>
              <a:t>Impact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FCA46901-ED40-41AA-95AD-ADE9E86C443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28973" y="4187825"/>
            <a:ext cx="381002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FFC8F3DC-2FB3-4CA7-9006-B6A3370B9E0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00944" y="4186238"/>
            <a:ext cx="380926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C88F3AC6-38BB-420F-928B-D3D9DAD55B7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28973" y="765175"/>
            <a:ext cx="3810001" cy="138191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0" name="Picture Placeholder 20">
            <a:extLst>
              <a:ext uri="{FF2B5EF4-FFF2-40B4-BE49-F238E27FC236}">
                <a16:creationId xmlns:a16="http://schemas.microsoft.com/office/drawing/2014/main" id="{B62EDA09-4F38-47EC-8087-3301CDABF2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620000" y="-1"/>
            <a:ext cx="4572000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19156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96CD57-C0DB-43A8-8C5C-A539549839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5301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96CD57-C0DB-43A8-8C5C-A53954983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2089A8CE-377D-4B70-A044-B5B63794CD49}"/>
              </a:ext>
            </a:extLst>
          </p:cNvPr>
          <p:cNvSpPr/>
          <p:nvPr userDrawn="1"/>
        </p:nvSpPr>
        <p:spPr>
          <a:xfrm>
            <a:off x="0" y="1524001"/>
            <a:ext cx="3179676" cy="5333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>
          <a:xfrm>
            <a:off x="0" y="-1587"/>
            <a:ext cx="12192000" cy="1525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9" name="Graphic 19">
            <a:extLst>
              <a:ext uri="{FF2B5EF4-FFF2-40B4-BE49-F238E27FC236}">
                <a16:creationId xmlns:a16="http://schemas.microsoft.com/office/drawing/2014/main" id="{E2AD44DB-E4BE-48E0-8F62-15DBB756E093}"/>
              </a:ext>
            </a:extLst>
          </p:cNvPr>
          <p:cNvGrpSpPr/>
          <p:nvPr userDrawn="1"/>
        </p:nvGrpSpPr>
        <p:grpSpPr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20" name="Freeform 21">
              <a:extLst>
                <a:ext uri="{FF2B5EF4-FFF2-40B4-BE49-F238E27FC236}">
                  <a16:creationId xmlns:a16="http://schemas.microsoft.com/office/drawing/2014/main" id="{D9EDA8B2-D76D-463C-84C9-0185631E431D}"/>
                </a:ext>
              </a:extLst>
            </p:cNvPr>
            <p:cNvSpPr/>
            <p:nvPr/>
          </p:nvSpPr>
          <p:spPr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1" name="Freeform 22">
              <a:extLst>
                <a:ext uri="{FF2B5EF4-FFF2-40B4-BE49-F238E27FC236}">
                  <a16:creationId xmlns:a16="http://schemas.microsoft.com/office/drawing/2014/main" id="{089BEC8C-E8E0-466A-AB84-053758789BE8}"/>
                </a:ext>
              </a:extLst>
            </p:cNvPr>
            <p:cNvSpPr/>
            <p:nvPr/>
          </p:nvSpPr>
          <p:spPr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" name="Freeform 23">
              <a:extLst>
                <a:ext uri="{FF2B5EF4-FFF2-40B4-BE49-F238E27FC236}">
                  <a16:creationId xmlns:a16="http://schemas.microsoft.com/office/drawing/2014/main" id="{EF9B4F61-6118-4461-9202-2F3FEFDCA5EE}"/>
                </a:ext>
              </a:extLst>
            </p:cNvPr>
            <p:cNvSpPr/>
            <p:nvPr/>
          </p:nvSpPr>
          <p:spPr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" name="Freeform 24">
              <a:extLst>
                <a:ext uri="{FF2B5EF4-FFF2-40B4-BE49-F238E27FC236}">
                  <a16:creationId xmlns:a16="http://schemas.microsoft.com/office/drawing/2014/main" id="{3BFE760D-733B-4BE0-ABE9-B1AADF47863B}"/>
                </a:ext>
              </a:extLst>
            </p:cNvPr>
            <p:cNvSpPr/>
            <p:nvPr/>
          </p:nvSpPr>
          <p:spPr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" name="Freeform 25">
              <a:extLst>
                <a:ext uri="{FF2B5EF4-FFF2-40B4-BE49-F238E27FC236}">
                  <a16:creationId xmlns:a16="http://schemas.microsoft.com/office/drawing/2014/main" id="{A2BEDB90-47A9-4806-BB41-5778AD529E0D}"/>
                </a:ext>
              </a:extLst>
            </p:cNvPr>
            <p:cNvSpPr/>
            <p:nvPr/>
          </p:nvSpPr>
          <p:spPr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20BF7B9D-48F5-44B5-A629-838B97CB67EF}"/>
                </a:ext>
              </a:extLst>
            </p:cNvPr>
            <p:cNvSpPr/>
            <p:nvPr/>
          </p:nvSpPr>
          <p:spPr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BE4B057E-40BF-4DFD-8FB4-9417EA32342E}"/>
                </a:ext>
              </a:extLst>
            </p:cNvPr>
            <p:cNvSpPr/>
            <p:nvPr/>
          </p:nvSpPr>
          <p:spPr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60416A9F-C813-47A1-BC5C-9781DE143BBC}"/>
              </a:ext>
            </a:extLst>
          </p:cNvPr>
          <p:cNvSpPr txBox="1"/>
          <p:nvPr userDrawn="1"/>
        </p:nvSpPr>
        <p:spPr>
          <a:xfrm>
            <a:off x="381001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8C368-3382-4C28-AE75-DF7C05ACA19D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1E1E1E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E4614CD-0A06-45AD-BFB3-52C98A151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1000"/>
            <a:ext cx="5334000" cy="830997"/>
          </a:xfrm>
        </p:spPr>
        <p:txBody>
          <a:bodyPr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en-GB" dirty="0"/>
              <a:t>Key message. 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2329350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969696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245B73-A482-F64B-86B5-7D35749B6A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2286000" cy="385762"/>
          </a:xfrm>
        </p:spPr>
        <p:txBody>
          <a:bodyPr>
            <a:noAutofit/>
          </a:bodyPr>
          <a:lstStyle/>
          <a:p>
            <a:r>
              <a:rPr lang="en-GB" dirty="0"/>
              <a:t>Thank you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0A2A9C-BC2E-E84C-9D64-34631BC47D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43000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Detail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E2D8C7B-E137-3948-86A5-8EF55583B6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29001" y="1143000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Detail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E76C799-A2B3-8549-BF01-A5E85152A2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2283532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Detail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EF35F24-23CB-894F-98A8-27315C4DB2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29001" y="2283532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Detail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78BA69A-3076-2A40-8C16-4A197F6CC4C1}"/>
              </a:ext>
            </a:extLst>
          </p:cNvPr>
          <p:cNvSpPr/>
          <p:nvPr userDrawn="1"/>
        </p:nvSpPr>
        <p:spPr>
          <a:xfrm>
            <a:off x="381000" y="5589610"/>
            <a:ext cx="4490864" cy="503215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s document is exclusively intended for selected client employees. Distribution, quotations and duplications – even in the form of extracts – for third parties is only permitted upon prior written consent of Kearney. 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arney used the text and charts compiled in this report in a presentation; they do not represent a complete documentation of the presentation.</a:t>
            </a:r>
          </a:p>
        </p:txBody>
      </p:sp>
      <p:sp>
        <p:nvSpPr>
          <p:cNvPr id="22" name="Picture Placeholder 43">
            <a:extLst>
              <a:ext uri="{FF2B5EF4-FFF2-40B4-BE49-F238E27FC236}">
                <a16:creationId xmlns:a16="http://schemas.microsoft.com/office/drawing/2014/main" id="{763095BA-2E8C-A049-B6E6-B9E92AF228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1858328 w 6096000"/>
              <a:gd name="connsiteY1" fmla="*/ 0 h 6858000"/>
              <a:gd name="connsiteX2" fmla="*/ 3456432 w 6096000"/>
              <a:gd name="connsiteY2" fmla="*/ 2612771 h 6858000"/>
              <a:gd name="connsiteX3" fmla="*/ 5093144 w 6096000"/>
              <a:gd name="connsiteY3" fmla="*/ 0 h 6858000"/>
              <a:gd name="connsiteX4" fmla="*/ 6096000 w 6096000"/>
              <a:gd name="connsiteY4" fmla="*/ 0 h 6858000"/>
              <a:gd name="connsiteX5" fmla="*/ 6096000 w 6096000"/>
              <a:gd name="connsiteY5" fmla="*/ 1283272 h 6858000"/>
              <a:gd name="connsiteX6" fmla="*/ 4272026 w 6096000"/>
              <a:gd name="connsiteY6" fmla="*/ 4115435 h 6858000"/>
              <a:gd name="connsiteX7" fmla="*/ 4272026 w 6096000"/>
              <a:gd name="connsiteY7" fmla="*/ 6858000 h 6858000"/>
              <a:gd name="connsiteX8" fmla="*/ 2650427 w 6096000"/>
              <a:gd name="connsiteY8" fmla="*/ 6858000 h 6858000"/>
              <a:gd name="connsiteX9" fmla="*/ 2650427 w 6096000"/>
              <a:gd name="connsiteY9" fmla="*/ 410629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1858328" y="0"/>
                </a:lnTo>
                <a:lnTo>
                  <a:pt x="3456432" y="2612771"/>
                </a:lnTo>
                <a:lnTo>
                  <a:pt x="5093144" y="0"/>
                </a:lnTo>
                <a:lnTo>
                  <a:pt x="6096000" y="0"/>
                </a:lnTo>
                <a:lnTo>
                  <a:pt x="6096000" y="1283272"/>
                </a:lnTo>
                <a:lnTo>
                  <a:pt x="4272026" y="4115435"/>
                </a:lnTo>
                <a:lnTo>
                  <a:pt x="4272026" y="6858000"/>
                </a:lnTo>
                <a:lnTo>
                  <a:pt x="2650427" y="6858000"/>
                </a:lnTo>
                <a:lnTo>
                  <a:pt x="2650427" y="41062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4D08DEC-6623-4781-9EAF-1AEF06E65F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0" y="3424064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Detail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627CD43-C8BD-456F-B11B-D4CCC5605F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9001" y="3424064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Details</a:t>
            </a:r>
          </a:p>
        </p:txBody>
      </p:sp>
      <p:grpSp>
        <p:nvGrpSpPr>
          <p:cNvPr id="26" name="Graphic 19">
            <a:extLst>
              <a:ext uri="{FF2B5EF4-FFF2-40B4-BE49-F238E27FC236}">
                <a16:creationId xmlns:a16="http://schemas.microsoft.com/office/drawing/2014/main" id="{D8D986CC-9B47-4B75-9BCD-29E200D094F9}"/>
              </a:ext>
            </a:extLst>
          </p:cNvPr>
          <p:cNvGrpSpPr/>
          <p:nvPr userDrawn="1"/>
        </p:nvGrpSpPr>
        <p:grpSpPr>
          <a:xfrm>
            <a:off x="381000" y="6250079"/>
            <a:ext cx="1901823" cy="223746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A0E8E75B-ACB1-40EC-91FD-14C0A2D3A476}"/>
                </a:ext>
              </a:extLst>
            </p:cNvPr>
            <p:cNvSpPr/>
            <p:nvPr/>
          </p:nvSpPr>
          <p:spPr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B7A694C7-7536-4187-8B55-E4A46D058B83}"/>
                </a:ext>
              </a:extLst>
            </p:cNvPr>
            <p:cNvSpPr/>
            <p:nvPr/>
          </p:nvSpPr>
          <p:spPr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A90AC4F7-A0F8-47C4-AB3E-F18869A9E4A5}"/>
                </a:ext>
              </a:extLst>
            </p:cNvPr>
            <p:cNvSpPr/>
            <p:nvPr/>
          </p:nvSpPr>
          <p:spPr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B695B17-2FD5-4411-8281-DA58C9A3F944}"/>
                </a:ext>
              </a:extLst>
            </p:cNvPr>
            <p:cNvSpPr/>
            <p:nvPr/>
          </p:nvSpPr>
          <p:spPr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" name="Freeform 15">
              <a:extLst>
                <a:ext uri="{FF2B5EF4-FFF2-40B4-BE49-F238E27FC236}">
                  <a16:creationId xmlns:a16="http://schemas.microsoft.com/office/drawing/2014/main" id="{D6B62859-BAD3-49CA-BA94-73296F549BD0}"/>
                </a:ext>
              </a:extLst>
            </p:cNvPr>
            <p:cNvSpPr/>
            <p:nvPr/>
          </p:nvSpPr>
          <p:spPr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" name="Freeform 16">
              <a:extLst>
                <a:ext uri="{FF2B5EF4-FFF2-40B4-BE49-F238E27FC236}">
                  <a16:creationId xmlns:a16="http://schemas.microsoft.com/office/drawing/2014/main" id="{9199EE27-3DE6-4BFA-A85B-AFDA2A8B959B}"/>
                </a:ext>
              </a:extLst>
            </p:cNvPr>
            <p:cNvSpPr/>
            <p:nvPr/>
          </p:nvSpPr>
          <p:spPr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" name="Freeform 17">
              <a:extLst>
                <a:ext uri="{FF2B5EF4-FFF2-40B4-BE49-F238E27FC236}">
                  <a16:creationId xmlns:a16="http://schemas.microsoft.com/office/drawing/2014/main" id="{2CDF0A25-4EEA-441C-A6E6-F2B07A6E5124}"/>
                </a:ext>
              </a:extLst>
            </p:cNvPr>
            <p:cNvSpPr/>
            <p:nvPr/>
          </p:nvSpPr>
          <p:spPr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pic>
        <p:nvPicPr>
          <p:cNvPr id="34" name="Picture 33" descr="A drawing of a face&#10;&#10;Description automatically generated">
            <a:hlinkClick r:id="rId2"/>
            <a:extLst>
              <a:ext uri="{FF2B5EF4-FFF2-40B4-BE49-F238E27FC236}">
                <a16:creationId xmlns:a16="http://schemas.microsoft.com/office/drawing/2014/main" id="{2A565116-6508-49C7-87EB-B9E5099C289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6715" y="4930812"/>
            <a:ext cx="406400" cy="406400"/>
          </a:xfrm>
          <a:prstGeom prst="rect">
            <a:avLst/>
          </a:prstGeom>
        </p:spPr>
      </p:pic>
      <p:pic>
        <p:nvPicPr>
          <p:cNvPr id="35" name="Picture 34" descr="A picture containing drawing&#10;&#10;Description automatically generated">
            <a:hlinkClick r:id="rId4"/>
            <a:extLst>
              <a:ext uri="{FF2B5EF4-FFF2-40B4-BE49-F238E27FC236}">
                <a16:creationId xmlns:a16="http://schemas.microsoft.com/office/drawing/2014/main" id="{E7007630-77E7-42BB-BAA5-FAF0126C0AB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9640" y="4930812"/>
            <a:ext cx="406400" cy="406400"/>
          </a:xfrm>
          <a:prstGeom prst="rect">
            <a:avLst/>
          </a:prstGeom>
        </p:spPr>
      </p:pic>
      <p:pic>
        <p:nvPicPr>
          <p:cNvPr id="36" name="Picture 35" descr="A picture containing drawing&#10;&#10;Description automatically generated">
            <a:hlinkClick r:id="rId6"/>
            <a:extLst>
              <a:ext uri="{FF2B5EF4-FFF2-40B4-BE49-F238E27FC236}">
                <a16:creationId xmlns:a16="http://schemas.microsoft.com/office/drawing/2014/main" id="{181FE440-240E-4D13-A503-8BD65F04EFB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72565" y="4930812"/>
            <a:ext cx="406400" cy="406400"/>
          </a:xfrm>
          <a:prstGeom prst="rect">
            <a:avLst/>
          </a:prstGeom>
        </p:spPr>
      </p:pic>
      <p:pic>
        <p:nvPicPr>
          <p:cNvPr id="37" name="Picture 36" descr="A picture containing drawing&#10;&#10;Description automatically generated">
            <a:hlinkClick r:id="rId8"/>
            <a:extLst>
              <a:ext uri="{FF2B5EF4-FFF2-40B4-BE49-F238E27FC236}">
                <a16:creationId xmlns:a16="http://schemas.microsoft.com/office/drawing/2014/main" id="{0937E484-B066-45FF-98FD-C64958D62237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58415" y="4924954"/>
            <a:ext cx="406400" cy="406400"/>
          </a:xfrm>
          <a:prstGeom prst="rect">
            <a:avLst/>
          </a:prstGeom>
        </p:spPr>
      </p:pic>
      <p:pic>
        <p:nvPicPr>
          <p:cNvPr id="38" name="Picture 37" descr="A drawing of a face&#10;&#10;Description automatically generated">
            <a:hlinkClick r:id="rId10"/>
            <a:extLst>
              <a:ext uri="{FF2B5EF4-FFF2-40B4-BE49-F238E27FC236}">
                <a16:creationId xmlns:a16="http://schemas.microsoft.com/office/drawing/2014/main" id="{EDC82321-65DC-4E2A-9F1D-5B9B67135F0E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15490" y="4924954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02824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AD4FE1-9E37-084D-B5CD-5C8B5F3169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0"/>
            <a:ext cx="5334000" cy="1518442"/>
          </a:xfrm>
        </p:spPr>
        <p:txBody>
          <a:bodyPr lIns="0" rIns="0" anchor="t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800"/>
            </a:lvl1pPr>
          </a:lstStyle>
          <a:p>
            <a:r>
              <a:rPr lang="en-US"/>
              <a:t>What are you here </a:t>
            </a:r>
            <a:br>
              <a:rPr lang="en-US"/>
            </a:br>
            <a:r>
              <a:rPr lang="en-US"/>
              <a:t>to say? Set the tone.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8B117B-053B-D74C-BAD6-ABB3754D81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2667000"/>
            <a:ext cx="5334000" cy="1143000"/>
          </a:xfrm>
        </p:spPr>
        <p:txBody>
          <a:bodyPr lIns="0" rIns="0"/>
          <a:lstStyle>
            <a:lvl1pPr marL="0" indent="952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000" b="1"/>
            </a:lvl1pPr>
            <a:lvl2pPr marL="0" marR="0" indent="95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2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0" indent="9525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4pPr>
            <a:lvl5pPr marL="0" indent="-1819275" algn="l">
              <a:spcAft>
                <a:spcPts val="0"/>
              </a:spcAft>
              <a:buNone/>
              <a:tabLst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Add supporting detail</a:t>
            </a:r>
          </a:p>
          <a:p>
            <a:pPr lvl="1"/>
            <a:r>
              <a:rPr lang="en-US"/>
              <a:t>Date</a:t>
            </a:r>
            <a:endParaRPr lang="en-US" dirty="0"/>
          </a:p>
        </p:txBody>
      </p:sp>
      <p:grpSp>
        <p:nvGrpSpPr>
          <p:cNvPr id="7" name="Graphic 19">
            <a:extLst>
              <a:ext uri="{FF2B5EF4-FFF2-40B4-BE49-F238E27FC236}">
                <a16:creationId xmlns:a16="http://schemas.microsoft.com/office/drawing/2014/main" id="{CFAC16B0-F4A7-F543-918F-33686B72247A}"/>
              </a:ext>
            </a:extLst>
          </p:cNvPr>
          <p:cNvGrpSpPr/>
          <p:nvPr userDrawn="1"/>
        </p:nvGrpSpPr>
        <p:grpSpPr>
          <a:xfrm>
            <a:off x="381000" y="6250079"/>
            <a:ext cx="1901823" cy="223746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BC16B120-E914-4346-836A-D2EE39F39E8D}"/>
                </a:ext>
              </a:extLst>
            </p:cNvPr>
            <p:cNvSpPr/>
            <p:nvPr/>
          </p:nvSpPr>
          <p:spPr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D87A3A-326D-9340-9F69-A97A7A06294C}"/>
                </a:ext>
              </a:extLst>
            </p:cNvPr>
            <p:cNvSpPr/>
            <p:nvPr/>
          </p:nvSpPr>
          <p:spPr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832AA57B-83BA-2244-849F-D6B0F8C0D10A}"/>
                </a:ext>
              </a:extLst>
            </p:cNvPr>
            <p:cNvSpPr/>
            <p:nvPr/>
          </p:nvSpPr>
          <p:spPr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296E0F56-C15D-674F-82EC-61F7B1492288}"/>
                </a:ext>
              </a:extLst>
            </p:cNvPr>
            <p:cNvSpPr/>
            <p:nvPr/>
          </p:nvSpPr>
          <p:spPr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9CFA5212-33F7-9C47-A438-BABBB8B9B3A0}"/>
                </a:ext>
              </a:extLst>
            </p:cNvPr>
            <p:cNvSpPr/>
            <p:nvPr/>
          </p:nvSpPr>
          <p:spPr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F45CE236-8278-CC45-B4BB-6302999FC65C}"/>
                </a:ext>
              </a:extLst>
            </p:cNvPr>
            <p:cNvSpPr/>
            <p:nvPr/>
          </p:nvSpPr>
          <p:spPr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DAFDB6AE-4ADA-5545-9E6D-0ADCA24EE7E4}"/>
                </a:ext>
              </a:extLst>
            </p:cNvPr>
            <p:cNvSpPr/>
            <p:nvPr/>
          </p:nvSpPr>
          <p:spPr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15" name="Picture Placeholder 33">
            <a:extLst>
              <a:ext uri="{FF2B5EF4-FFF2-40B4-BE49-F238E27FC236}">
                <a16:creationId xmlns:a16="http://schemas.microsoft.com/office/drawing/2014/main" id="{1D5CCC86-3F10-B647-A528-00A82173898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02350" y="0"/>
            <a:ext cx="6089650" cy="6858000"/>
          </a:xfrm>
          <a:custGeom>
            <a:avLst/>
            <a:gdLst>
              <a:gd name="connsiteX0" fmla="*/ 0 w 6089650"/>
              <a:gd name="connsiteY0" fmla="*/ 0 h 6858000"/>
              <a:gd name="connsiteX1" fmla="*/ 1595374 w 6089650"/>
              <a:gd name="connsiteY1" fmla="*/ 0 h 6858000"/>
              <a:gd name="connsiteX2" fmla="*/ 1595374 w 6089650"/>
              <a:gd name="connsiteY2" fmla="*/ 2523300 h 6858000"/>
              <a:gd name="connsiteX3" fmla="*/ 2028381 w 6089650"/>
              <a:gd name="connsiteY3" fmla="*/ 2523300 h 6858000"/>
              <a:gd name="connsiteX4" fmla="*/ 4196207 w 6089650"/>
              <a:gd name="connsiteY4" fmla="*/ 0 h 6858000"/>
              <a:gd name="connsiteX5" fmla="*/ 6089650 w 6089650"/>
              <a:gd name="connsiteY5" fmla="*/ 0 h 6858000"/>
              <a:gd name="connsiteX6" fmla="*/ 6089650 w 6089650"/>
              <a:gd name="connsiteY6" fmla="*/ 149543 h 6858000"/>
              <a:gd name="connsiteX7" fmla="*/ 3336607 w 6089650"/>
              <a:gd name="connsiteY7" fmla="*/ 3429000 h 6858000"/>
              <a:gd name="connsiteX8" fmla="*/ 6089650 w 6089650"/>
              <a:gd name="connsiteY8" fmla="*/ 6708394 h 6858000"/>
              <a:gd name="connsiteX9" fmla="*/ 6089650 w 6089650"/>
              <a:gd name="connsiteY9" fmla="*/ 6858000 h 6858000"/>
              <a:gd name="connsiteX10" fmla="*/ 4197350 w 6089650"/>
              <a:gd name="connsiteY10" fmla="*/ 6858000 h 6858000"/>
              <a:gd name="connsiteX11" fmla="*/ 2049907 w 6089650"/>
              <a:gd name="connsiteY11" fmla="*/ 4309428 h 6858000"/>
              <a:gd name="connsiteX12" fmla="*/ 1595311 w 6089650"/>
              <a:gd name="connsiteY12" fmla="*/ 4309301 h 6858000"/>
              <a:gd name="connsiteX13" fmla="*/ 1595311 w 6089650"/>
              <a:gd name="connsiteY13" fmla="*/ 6858000 h 6858000"/>
              <a:gd name="connsiteX14" fmla="*/ 0 w 6089650"/>
              <a:gd name="connsiteY1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89650" h="6858000">
                <a:moveTo>
                  <a:pt x="0" y="0"/>
                </a:moveTo>
                <a:lnTo>
                  <a:pt x="1595374" y="0"/>
                </a:lnTo>
                <a:lnTo>
                  <a:pt x="1595374" y="2523300"/>
                </a:lnTo>
                <a:lnTo>
                  <a:pt x="2028381" y="2523300"/>
                </a:lnTo>
                <a:lnTo>
                  <a:pt x="4196207" y="0"/>
                </a:lnTo>
                <a:lnTo>
                  <a:pt x="6089650" y="0"/>
                </a:lnTo>
                <a:lnTo>
                  <a:pt x="6089650" y="149543"/>
                </a:lnTo>
                <a:lnTo>
                  <a:pt x="3336607" y="3429000"/>
                </a:lnTo>
                <a:lnTo>
                  <a:pt x="6089650" y="6708394"/>
                </a:lnTo>
                <a:lnTo>
                  <a:pt x="6089650" y="6858000"/>
                </a:lnTo>
                <a:lnTo>
                  <a:pt x="4197350" y="6858000"/>
                </a:lnTo>
                <a:lnTo>
                  <a:pt x="2049907" y="4309428"/>
                </a:lnTo>
                <a:lnTo>
                  <a:pt x="1595311" y="4309301"/>
                </a:lnTo>
                <a:lnTo>
                  <a:pt x="159531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algn="l">
              <a:defRPr sz="11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insert image</a:t>
            </a:r>
          </a:p>
        </p:txBody>
      </p:sp>
    </p:spTree>
    <p:extLst>
      <p:ext uri="{BB962C8B-B14F-4D97-AF65-F5344CB8AC3E}">
        <p14:creationId xmlns:p14="http://schemas.microsoft.com/office/powerpoint/2010/main" val="358827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3F9F64B-940B-43E0-8291-E8A36A1AE55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428999" y="381001"/>
            <a:ext cx="8382001" cy="5715000"/>
          </a:xfrm>
        </p:spPr>
        <p:txBody>
          <a:bodyPr/>
          <a:lstStyle>
            <a:lvl1pPr>
              <a:defRPr sz="2000" b="1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  <a:lvl3pPr marL="180975" indent="-179388">
              <a:defRPr/>
            </a:lvl3pPr>
            <a:lvl4pPr marL="357188" indent="-179388">
              <a:defRPr/>
            </a:lvl4pPr>
            <a:lvl5pPr marL="538163" indent="-179388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6F9B490-F790-4671-9748-99A165BDC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1786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CAA8CDD-85D5-455D-B49F-664C574260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6237" y="381000"/>
            <a:ext cx="11434763" cy="5335587"/>
          </a:xfrm>
        </p:spPr>
        <p:txBody>
          <a:bodyPr/>
          <a:lstStyle>
            <a:lvl1pPr marL="1143000" marR="0" indent="-114300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1pPr>
            <a:lvl2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2pPr>
            <a:lvl3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3pPr>
            <a:lvl4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4pPr>
            <a:lvl5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hapter head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55182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C9093CB6-8F34-9640-9439-EDEDF08C59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381000"/>
            <a:ext cx="5334000" cy="3746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20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Overview</a:t>
            </a:r>
            <a:endParaRPr lang="en-US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524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Set the scene.</a:t>
            </a:r>
            <a:br>
              <a:rPr lang="en-US"/>
            </a:br>
            <a:r>
              <a:rPr lang="en-US"/>
              <a:t>Cover the context.</a:t>
            </a:r>
            <a:endParaRPr lang="en-US" dirty="0"/>
          </a:p>
        </p:txBody>
      </p:sp>
      <p:sp>
        <p:nvSpPr>
          <p:cNvPr id="10" name="Picture Placeholder 17">
            <a:extLst>
              <a:ext uri="{FF2B5EF4-FFF2-40B4-BE49-F238E27FC236}">
                <a16:creationId xmlns:a16="http://schemas.microsoft.com/office/drawing/2014/main" id="{8ECEA818-F741-4C41-BBA4-A4DF4D5A939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600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1396302 h 6858000"/>
              <a:gd name="connsiteX3" fmla="*/ 3042920 w 6096000"/>
              <a:gd name="connsiteY3" fmla="*/ 1396302 h 6858000"/>
              <a:gd name="connsiteX4" fmla="*/ 3042920 w 6096000"/>
              <a:gd name="connsiteY4" fmla="*/ 3956241 h 6858000"/>
              <a:gd name="connsiteX5" fmla="*/ 6096000 w 6096000"/>
              <a:gd name="connsiteY5" fmla="*/ 3956241 h 6858000"/>
              <a:gd name="connsiteX6" fmla="*/ 6096000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1396302"/>
                </a:lnTo>
                <a:lnTo>
                  <a:pt x="3042920" y="1396302"/>
                </a:lnTo>
                <a:lnTo>
                  <a:pt x="3042920" y="3956241"/>
                </a:lnTo>
                <a:lnTo>
                  <a:pt x="6096000" y="3956241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image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351523DE-0CA4-4282-A867-9276960515C2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381000" y="3429000"/>
            <a:ext cx="5334000" cy="2659620"/>
          </a:xfrm>
        </p:spPr>
        <p:txBody>
          <a:bodyPr/>
          <a:lstStyle>
            <a:lvl1pPr marL="171450" indent="-17145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/>
            </a:lvl1pPr>
            <a:lvl2pPr marL="357188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/>
            </a:lvl2pPr>
            <a:lvl3pPr marL="538163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tabLst/>
              <a:defRPr b="0"/>
            </a:lvl3pPr>
            <a:lvl4pPr marL="360000" indent="0">
              <a:buNone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162044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3C986AE8-3283-B442-86B7-A93DD146B1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0" y="381000"/>
            <a:ext cx="5334000" cy="3746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20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Insight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1524000"/>
            <a:ext cx="5334001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Make your case.</a:t>
            </a:r>
            <a:br>
              <a:rPr lang="en-US"/>
            </a:br>
            <a:r>
              <a:rPr lang="en-US"/>
              <a:t>Show the proof.</a:t>
            </a:r>
            <a:endParaRPr lang="en-US" dirty="0"/>
          </a:p>
        </p:txBody>
      </p:sp>
      <p:sp>
        <p:nvSpPr>
          <p:cNvPr id="8" name="Picture Placeholder 25">
            <a:extLst>
              <a:ext uri="{FF2B5EF4-FFF2-40B4-BE49-F238E27FC236}">
                <a16:creationId xmlns:a16="http://schemas.microsoft.com/office/drawing/2014/main" id="{69FC15C5-BD98-F947-A70A-B8ED272D992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096001" y="0"/>
            <a:ext cx="6096000" cy="6858001"/>
          </a:xfrm>
          <a:custGeom>
            <a:avLst/>
            <a:gdLst>
              <a:gd name="connsiteX0" fmla="*/ 5469890 w 7602411"/>
              <a:gd name="connsiteY0" fmla="*/ 1405953 h 6857999"/>
              <a:gd name="connsiteX1" fmla="*/ 3889312 w 7602411"/>
              <a:gd name="connsiteY1" fmla="*/ 5244020 h 6857999"/>
              <a:gd name="connsiteX2" fmla="*/ 7044690 w 7602411"/>
              <a:gd name="connsiteY2" fmla="*/ 5244020 h 6857999"/>
              <a:gd name="connsiteX3" fmla="*/ 2787650 w 7602411"/>
              <a:gd name="connsiteY3" fmla="*/ 0 h 6857999"/>
              <a:gd name="connsiteX4" fmla="*/ 7602411 w 7602411"/>
              <a:gd name="connsiteY4" fmla="*/ 0 h 6857999"/>
              <a:gd name="connsiteX5" fmla="*/ 7602411 w 7602411"/>
              <a:gd name="connsiteY5" fmla="*/ 6857999 h 6857999"/>
              <a:gd name="connsiteX6" fmla="*/ 0 w 7602411"/>
              <a:gd name="connsiteY6" fmla="*/ 6857999 h 6857999"/>
              <a:gd name="connsiteX7" fmla="*/ 646 w 7602411"/>
              <a:gd name="connsiteY7" fmla="*/ 6856411 h 6857999"/>
              <a:gd name="connsiteX8" fmla="*/ 1506411 w 7602411"/>
              <a:gd name="connsiteY8" fmla="*/ 6856411 h 6857999"/>
              <a:gd name="connsiteX9" fmla="*/ 1506411 w 7602411"/>
              <a:gd name="connsiteY9" fmla="*/ 3152023 h 6857999"/>
              <a:gd name="connsiteX0" fmla="*/ 5469890 w 7602411"/>
              <a:gd name="connsiteY0" fmla="*/ 1405953 h 6857999"/>
              <a:gd name="connsiteX1" fmla="*/ 3889312 w 7602411"/>
              <a:gd name="connsiteY1" fmla="*/ 5244020 h 6857999"/>
              <a:gd name="connsiteX2" fmla="*/ 7044690 w 7602411"/>
              <a:gd name="connsiteY2" fmla="*/ 5244020 h 6857999"/>
              <a:gd name="connsiteX3" fmla="*/ 5469890 w 7602411"/>
              <a:gd name="connsiteY3" fmla="*/ 1405953 h 6857999"/>
              <a:gd name="connsiteX4" fmla="*/ 2787650 w 7602411"/>
              <a:gd name="connsiteY4" fmla="*/ 0 h 6857999"/>
              <a:gd name="connsiteX5" fmla="*/ 7602411 w 7602411"/>
              <a:gd name="connsiteY5" fmla="*/ 0 h 6857999"/>
              <a:gd name="connsiteX6" fmla="*/ 7602411 w 7602411"/>
              <a:gd name="connsiteY6" fmla="*/ 6857999 h 6857999"/>
              <a:gd name="connsiteX7" fmla="*/ 0 w 7602411"/>
              <a:gd name="connsiteY7" fmla="*/ 6857999 h 6857999"/>
              <a:gd name="connsiteX8" fmla="*/ 1506411 w 7602411"/>
              <a:gd name="connsiteY8" fmla="*/ 6856411 h 6857999"/>
              <a:gd name="connsiteX9" fmla="*/ 1506411 w 7602411"/>
              <a:gd name="connsiteY9" fmla="*/ 3152023 h 6857999"/>
              <a:gd name="connsiteX10" fmla="*/ 2787650 w 7602411"/>
              <a:gd name="connsiteY10" fmla="*/ 0 h 6857999"/>
              <a:gd name="connsiteX0" fmla="*/ 3963479 w 6096000"/>
              <a:gd name="connsiteY0" fmla="*/ 1405953 h 6857999"/>
              <a:gd name="connsiteX1" fmla="*/ 2382901 w 6096000"/>
              <a:gd name="connsiteY1" fmla="*/ 5244020 h 6857999"/>
              <a:gd name="connsiteX2" fmla="*/ 5538279 w 6096000"/>
              <a:gd name="connsiteY2" fmla="*/ 5244020 h 6857999"/>
              <a:gd name="connsiteX3" fmla="*/ 3963479 w 6096000"/>
              <a:gd name="connsiteY3" fmla="*/ 1405953 h 6857999"/>
              <a:gd name="connsiteX4" fmla="*/ 1281239 w 6096000"/>
              <a:gd name="connsiteY4" fmla="*/ 0 h 6857999"/>
              <a:gd name="connsiteX5" fmla="*/ 6096000 w 6096000"/>
              <a:gd name="connsiteY5" fmla="*/ 0 h 6857999"/>
              <a:gd name="connsiteX6" fmla="*/ 6096000 w 6096000"/>
              <a:gd name="connsiteY6" fmla="*/ 6857999 h 6857999"/>
              <a:gd name="connsiteX7" fmla="*/ 0 w 6096000"/>
              <a:gd name="connsiteY7" fmla="*/ 6856411 h 6857999"/>
              <a:gd name="connsiteX8" fmla="*/ 0 w 6096000"/>
              <a:gd name="connsiteY8" fmla="*/ 3152023 h 6857999"/>
              <a:gd name="connsiteX9" fmla="*/ 1281239 w 6096000"/>
              <a:gd name="connsiteY9" fmla="*/ 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7999">
                <a:moveTo>
                  <a:pt x="3963479" y="1405953"/>
                </a:moveTo>
                <a:lnTo>
                  <a:pt x="2382901" y="5244020"/>
                </a:lnTo>
                <a:lnTo>
                  <a:pt x="5538279" y="5244020"/>
                </a:lnTo>
                <a:lnTo>
                  <a:pt x="3963479" y="1405953"/>
                </a:lnTo>
                <a:close/>
                <a:moveTo>
                  <a:pt x="1281239" y="0"/>
                </a:moveTo>
                <a:lnTo>
                  <a:pt x="6096000" y="0"/>
                </a:lnTo>
                <a:lnTo>
                  <a:pt x="6096000" y="6857999"/>
                </a:lnTo>
                <a:lnTo>
                  <a:pt x="0" y="6856411"/>
                </a:lnTo>
                <a:lnTo>
                  <a:pt x="0" y="3152023"/>
                </a:lnTo>
                <a:lnTo>
                  <a:pt x="1281239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>
                <a:tab pos="2309813" algn="l"/>
              </a:tabLst>
              <a:defRPr lang="en-US" dirty="0" smtClean="0"/>
            </a:lvl1pPr>
            <a:lvl9pPr marL="0" indent="360363">
              <a:tabLst/>
              <a:defRPr/>
            </a:lvl9pPr>
          </a:lstStyle>
          <a:p>
            <a:pPr marL="0" marR="0" lvl="8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image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FE6F8FD9-70DC-4391-AF4D-54977FF910AC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381000" y="3429000"/>
            <a:ext cx="5334000" cy="2659620"/>
          </a:xfrm>
        </p:spPr>
        <p:txBody>
          <a:bodyPr/>
          <a:lstStyle>
            <a:lvl1pPr marL="171450" indent="-17145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/>
            </a:lvl1pPr>
            <a:lvl2pPr marL="357188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/>
            </a:lvl2pPr>
            <a:lvl3pPr marL="538163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tabLst/>
              <a:defRPr b="0"/>
            </a:lvl3pPr>
            <a:lvl4pPr marL="360000" indent="0">
              <a:buNone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312529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3C986AE8-3283-B442-86B7-A93DD146B1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0" y="381000"/>
            <a:ext cx="5334000" cy="374650"/>
          </a:xfrm>
        </p:spPr>
        <p:txBody>
          <a:bodyPr>
            <a:noAutofit/>
          </a:bodyPr>
          <a:lstStyle>
            <a:lvl1pPr marL="0" inden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sz="2000" b="1">
                <a:solidFill>
                  <a:schemeClr val="tx2"/>
                </a:solidFill>
              </a:defRPr>
            </a:lvl1pPr>
            <a:lvl2pPr marL="0" indent="0">
              <a:spcBef>
                <a:spcPct val="0"/>
              </a:spcBef>
              <a:spcAft>
                <a:spcPct val="0"/>
              </a:spcAft>
              <a:buNone/>
              <a:defRPr/>
            </a:lvl2pPr>
            <a:lvl3pPr marL="0" indent="0">
              <a:spcBef>
                <a:spcPct val="0"/>
              </a:spcBef>
              <a:spcAft>
                <a:spcPct val="0"/>
              </a:spcAft>
              <a:buNone/>
              <a:defRPr/>
            </a:lvl3pPr>
            <a:lvl4pPr marL="0" indent="0">
              <a:spcBef>
                <a:spcPct val="0"/>
              </a:spcBef>
              <a:spcAft>
                <a:spcPct val="0"/>
              </a:spcAft>
              <a:buNone/>
              <a:defRPr/>
            </a:lvl4pPr>
            <a:lvl5pPr marL="0" indent="0">
              <a:spcBef>
                <a:spcPct val="0"/>
              </a:spcBef>
              <a:spcAft>
                <a:spcPct val="0"/>
              </a:spcAft>
              <a:buNone/>
              <a:defRPr/>
            </a:lvl5pPr>
          </a:lstStyle>
          <a:p>
            <a:pPr lvl="0"/>
            <a:r>
              <a:rPr lang="en-GB"/>
              <a:t>Insigh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1524000"/>
            <a:ext cx="5334001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 sz="3800"/>
            </a:lvl1pPr>
          </a:lstStyle>
          <a:p>
            <a:r>
              <a:rPr lang="en-GB"/>
              <a:t>Make your case.</a:t>
            </a:r>
            <a:br>
              <a:rPr lang="en-GB"/>
            </a:br>
            <a:r>
              <a:rPr lang="en-GB"/>
              <a:t>Show the proof.</a:t>
            </a:r>
          </a:p>
        </p:txBody>
      </p:sp>
      <p:sp>
        <p:nvSpPr>
          <p:cNvPr id="8" name="Picture Placeholder 25">
            <a:extLst>
              <a:ext uri="{FF2B5EF4-FFF2-40B4-BE49-F238E27FC236}">
                <a16:creationId xmlns:a16="http://schemas.microsoft.com/office/drawing/2014/main" id="{69FC15C5-BD98-F947-A70A-B8ED272D992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096001" y="0"/>
            <a:ext cx="6096000" cy="6858001"/>
          </a:xfrm>
          <a:custGeom>
            <a:avLst/>
            <a:gdLst>
              <a:gd name="connsiteX0" fmla="*/ 3963479 w 6096000"/>
              <a:gd name="connsiteY0" fmla="*/ 1405953 h 6857999"/>
              <a:gd name="connsiteX1" fmla="*/ 2382901 w 6096000"/>
              <a:gd name="connsiteY1" fmla="*/ 5244020 h 6857999"/>
              <a:gd name="connsiteX2" fmla="*/ 5538279 w 6096000"/>
              <a:gd name="connsiteY2" fmla="*/ 5244020 h 6857999"/>
              <a:gd name="connsiteX3" fmla="*/ 3963479 w 6096000"/>
              <a:gd name="connsiteY3" fmla="*/ 1405953 h 6857999"/>
              <a:gd name="connsiteX4" fmla="*/ 1281239 w 6096000"/>
              <a:gd name="connsiteY4" fmla="*/ 0 h 6857999"/>
              <a:gd name="connsiteX5" fmla="*/ 6096000 w 6096000"/>
              <a:gd name="connsiteY5" fmla="*/ 0 h 6857999"/>
              <a:gd name="connsiteX6" fmla="*/ 6096000 w 6096000"/>
              <a:gd name="connsiteY6" fmla="*/ 6857999 h 6857999"/>
              <a:gd name="connsiteX7" fmla="*/ 0 w 6096000"/>
              <a:gd name="connsiteY7" fmla="*/ 6856411 h 6857999"/>
              <a:gd name="connsiteX8" fmla="*/ 0 w 6096000"/>
              <a:gd name="connsiteY8" fmla="*/ 3152023 h 6857999"/>
              <a:gd name="connsiteX9" fmla="*/ 1281239 w 6096000"/>
              <a:gd name="connsiteY9" fmla="*/ 0 h 6857999"/>
              <a:gd name="connsiteX10" fmla="*/ 2787650 w 7602411"/>
              <a:gd name="connsiteY10" fmla="*/ 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7999">
                <a:moveTo>
                  <a:pt x="3963479" y="1405953"/>
                </a:moveTo>
                <a:lnTo>
                  <a:pt x="2382901" y="5244020"/>
                </a:lnTo>
                <a:lnTo>
                  <a:pt x="5538279" y="5244020"/>
                </a:lnTo>
                <a:lnTo>
                  <a:pt x="3963479" y="1405953"/>
                </a:lnTo>
                <a:close/>
                <a:moveTo>
                  <a:pt x="1281239" y="0"/>
                </a:moveTo>
                <a:lnTo>
                  <a:pt x="6096000" y="0"/>
                </a:lnTo>
                <a:lnTo>
                  <a:pt x="6096000" y="6857999"/>
                </a:lnTo>
                <a:lnTo>
                  <a:pt x="0" y="6856411"/>
                </a:lnTo>
                <a:lnTo>
                  <a:pt x="0" y="3152023"/>
                </a:lnTo>
                <a:lnTo>
                  <a:pt x="1281239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>
                <a:tab pos="2309813" algn="l"/>
              </a:tabLst>
              <a:defRPr lang="en-US" smtClean="0"/>
            </a:lvl1pPr>
            <a:lvl9pPr marL="0" indent="360363">
              <a:defRPr/>
            </a:lvl9pPr>
          </a:lstStyle>
          <a:p>
            <a:pPr marL="0" marR="0" lvl="8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/>
              <a:t>Click to insert image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FE6F8FD9-70DC-4391-AF4D-54977FF910AC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381000" y="3429000"/>
            <a:ext cx="5334000" cy="2659620"/>
          </a:xfrm>
        </p:spPr>
        <p:txBody>
          <a:bodyPr/>
          <a:lstStyle>
            <a:lvl1pPr marL="171450" indent="-17145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b="0"/>
            </a:lvl1pPr>
            <a:lvl2pPr marL="357188" indent="-179388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b="0"/>
            </a:lvl2pPr>
            <a:lvl3pPr marL="538163" indent="-179388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defRPr b="0"/>
            </a:lvl3pPr>
            <a:lvl4pPr marL="3600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2372452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98634137-7ABC-CE46-883D-3127AB6FA2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381000"/>
            <a:ext cx="5334000" cy="3746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20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Action</a:t>
            </a:r>
            <a:endParaRPr lang="en-US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75495C2-4728-204B-897F-ADE6303F8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524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The ‘so what?’.</a:t>
            </a:r>
            <a:br>
              <a:rPr lang="en-US"/>
            </a:br>
            <a:r>
              <a:rPr lang="en-US"/>
              <a:t>How to make a change.</a:t>
            </a:r>
            <a:endParaRPr lang="en-US" dirty="0"/>
          </a:p>
        </p:txBody>
      </p:sp>
      <p:sp>
        <p:nvSpPr>
          <p:cNvPr id="10" name="Picture Placeholder 21">
            <a:extLst>
              <a:ext uri="{FF2B5EF4-FFF2-40B4-BE49-F238E27FC236}">
                <a16:creationId xmlns:a16="http://schemas.microsoft.com/office/drawing/2014/main" id="{D5BD39DB-569C-A74F-9D4A-0F8F871CD12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6000" y="2"/>
            <a:ext cx="6096000" cy="6857999"/>
          </a:xfrm>
          <a:custGeom>
            <a:avLst/>
            <a:gdLst>
              <a:gd name="connsiteX0" fmla="*/ 0 w 6096000"/>
              <a:gd name="connsiteY0" fmla="*/ 0 h 6857999"/>
              <a:gd name="connsiteX1" fmla="*/ 6096000 w 6096000"/>
              <a:gd name="connsiteY1" fmla="*/ 0 h 6857999"/>
              <a:gd name="connsiteX2" fmla="*/ 6096000 w 6096000"/>
              <a:gd name="connsiteY2" fmla="*/ 2991167 h 6857999"/>
              <a:gd name="connsiteX3" fmla="*/ 4011041 w 6096000"/>
              <a:gd name="connsiteY3" fmla="*/ 2255456 h 6857999"/>
              <a:gd name="connsiteX4" fmla="*/ 755015 w 6096000"/>
              <a:gd name="connsiteY4" fmla="*/ 2255456 h 6857999"/>
              <a:gd name="connsiteX5" fmla="*/ 755015 w 6096000"/>
              <a:gd name="connsiteY5" fmla="*/ 5548756 h 6857999"/>
              <a:gd name="connsiteX6" fmla="*/ 4011041 w 6096000"/>
              <a:gd name="connsiteY6" fmla="*/ 5548756 h 6857999"/>
              <a:gd name="connsiteX7" fmla="*/ 6096000 w 6096000"/>
              <a:gd name="connsiteY7" fmla="*/ 4758753 h 6857999"/>
              <a:gd name="connsiteX8" fmla="*/ 6096000 w 6096000"/>
              <a:gd name="connsiteY8" fmla="*/ 6857999 h 6857999"/>
              <a:gd name="connsiteX9" fmla="*/ 0 w 6096000"/>
              <a:gd name="connsiteY9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7999">
                <a:moveTo>
                  <a:pt x="0" y="0"/>
                </a:moveTo>
                <a:lnTo>
                  <a:pt x="6096000" y="0"/>
                </a:lnTo>
                <a:lnTo>
                  <a:pt x="6096000" y="2991167"/>
                </a:lnTo>
                <a:cubicBezTo>
                  <a:pt x="5805424" y="2561272"/>
                  <a:pt x="5195888" y="2255456"/>
                  <a:pt x="4011041" y="2255456"/>
                </a:cubicBezTo>
                <a:lnTo>
                  <a:pt x="755015" y="2255456"/>
                </a:lnTo>
                <a:lnTo>
                  <a:pt x="755015" y="5548756"/>
                </a:lnTo>
                <a:lnTo>
                  <a:pt x="4011041" y="5548756"/>
                </a:lnTo>
                <a:cubicBezTo>
                  <a:pt x="5209794" y="5548756"/>
                  <a:pt x="5810758" y="5204269"/>
                  <a:pt x="6096000" y="4758753"/>
                </a:cubicBezTo>
                <a:lnTo>
                  <a:pt x="6096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9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9pPr>
          </a:lstStyle>
          <a:p>
            <a:pPr marL="0" marR="0" lvl="8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image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96DAFEEB-7D02-43C9-8DCE-D1B158CB7688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381000" y="3429000"/>
            <a:ext cx="5334000" cy="2659620"/>
          </a:xfrm>
        </p:spPr>
        <p:txBody>
          <a:bodyPr/>
          <a:lstStyle>
            <a:lvl1pPr marL="171450" indent="-17145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/>
            </a:lvl1pPr>
            <a:lvl2pPr marL="357188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/>
            </a:lvl2pPr>
            <a:lvl3pPr marL="538163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tabLst/>
              <a:defRPr b="0"/>
            </a:lvl3pPr>
            <a:lvl4pPr marL="360000" indent="0">
              <a:buNone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004559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01EA128-4E92-46A3-B8EE-474F087E3FF2}"/>
              </a:ext>
            </a:extLst>
          </p:cNvPr>
          <p:cNvSpPr/>
          <p:nvPr userDrawn="1"/>
        </p:nvSpPr>
        <p:spPr>
          <a:xfrm>
            <a:off x="11064552" y="6536518"/>
            <a:ext cx="828092" cy="2520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C9093CB6-8F34-9640-9439-EDEDF08C59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381000"/>
            <a:ext cx="5334000" cy="3746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20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Appendix</a:t>
            </a:r>
            <a:endParaRPr lang="en-US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524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For further reading.</a:t>
            </a:r>
            <a:endParaRPr lang="en-US" dirty="0"/>
          </a:p>
        </p:txBody>
      </p:sp>
      <p:sp>
        <p:nvSpPr>
          <p:cNvPr id="10" name="Picture Placeholder 17">
            <a:extLst>
              <a:ext uri="{FF2B5EF4-FFF2-40B4-BE49-F238E27FC236}">
                <a16:creationId xmlns:a16="http://schemas.microsoft.com/office/drawing/2014/main" id="{F77725FD-D57B-3A41-8390-15C08788EB1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6000" y="2"/>
            <a:ext cx="6096000" cy="6857999"/>
          </a:xfrm>
          <a:custGeom>
            <a:avLst/>
            <a:gdLst>
              <a:gd name="connsiteX0" fmla="*/ 0 w 6096000"/>
              <a:gd name="connsiteY0" fmla="*/ 0 h 6857999"/>
              <a:gd name="connsiteX1" fmla="*/ 5274058 w 6096000"/>
              <a:gd name="connsiteY1" fmla="*/ 0 h 6857999"/>
              <a:gd name="connsiteX2" fmla="*/ 6096000 w 6096000"/>
              <a:gd name="connsiteY2" fmla="*/ 1098549 h 6857999"/>
              <a:gd name="connsiteX3" fmla="*/ 6096000 w 6096000"/>
              <a:gd name="connsiteY3" fmla="*/ 6663118 h 6857999"/>
              <a:gd name="connsiteX4" fmla="*/ 3179953 w 6096000"/>
              <a:gd name="connsiteY4" fmla="*/ 2769996 h 6857999"/>
              <a:gd name="connsiteX5" fmla="*/ 3179890 w 6096000"/>
              <a:gd name="connsiteY5" fmla="*/ 6857999 h 6857999"/>
              <a:gd name="connsiteX6" fmla="*/ 0 w 6096000"/>
              <a:gd name="connsiteY6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6000" h="6857999">
                <a:moveTo>
                  <a:pt x="0" y="0"/>
                </a:moveTo>
                <a:lnTo>
                  <a:pt x="5274058" y="0"/>
                </a:lnTo>
                <a:lnTo>
                  <a:pt x="6096000" y="1098549"/>
                </a:lnTo>
                <a:lnTo>
                  <a:pt x="6096000" y="6663118"/>
                </a:lnTo>
                <a:lnTo>
                  <a:pt x="3179953" y="2769996"/>
                </a:lnTo>
                <a:lnTo>
                  <a:pt x="317989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image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90172A89-27F1-48CB-B53F-3DD6FAC7D96F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381000" y="3429000"/>
            <a:ext cx="5334000" cy="2659620"/>
          </a:xfrm>
        </p:spPr>
        <p:txBody>
          <a:bodyPr/>
          <a:lstStyle>
            <a:lvl1pPr marL="171450" indent="-17145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/>
            </a:lvl1pPr>
            <a:lvl2pPr marL="357188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/>
            </a:lvl2pPr>
            <a:lvl3pPr marL="538163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tabLst/>
              <a:defRPr b="0"/>
            </a:lvl3pPr>
            <a:lvl4pPr marL="360000" indent="0">
              <a:buNone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442771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1000"/>
            <a:ext cx="5334000" cy="267017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en-GB" sz="3800" b="1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en-US" b="1">
                <a:effectLst/>
                <a:latin typeface="Arial" panose="020B0604020202020204" pitchFamily="34" charset="0"/>
              </a:rPr>
              <a:t>Add an optional sub-chapter that supports the narrative</a:t>
            </a:r>
            <a:endParaRPr lang="en-US" dirty="0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95506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AE1E5AF-43EF-49CD-A70B-FBA2BCAA3F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58235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1000"/>
            <a:ext cx="5334000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8665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54C3A91-5A88-6F49-B31C-7C3C6EB2A6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9000" y="381000"/>
            <a:ext cx="3810000" cy="37465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  <a:p>
            <a:pPr lvl="1"/>
            <a:r>
              <a:rPr lang="en-US"/>
              <a:t>Sub-heading: Add supporting detail.</a:t>
            </a:r>
            <a:endParaRPr lang="en-US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5A75C044-EF0B-6A4F-907C-515927B913F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04212" y="381000"/>
            <a:ext cx="3813048" cy="37465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  <a:p>
            <a:pPr lvl="1"/>
            <a:r>
              <a:rPr lang="en-US"/>
              <a:t>Sub-heading: Add supporting detail.</a:t>
            </a:r>
            <a:endParaRPr lang="en-US" dirty="0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25C4D7CF-6868-C642-B298-65F96507D5DD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429000" y="1143000"/>
            <a:ext cx="3810000" cy="4949825"/>
          </a:xfrm>
        </p:spPr>
        <p:txBody>
          <a:bodyPr tIns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This is where you make your case with relevant evidence and information. Keep sentences concise. Avoid jargon and </a:t>
            </a:r>
            <a:r>
              <a:rPr lang="en-US" noProof="0"/>
              <a:t>repetition.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2878B453-1C2F-7042-9F43-39BF515D313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004212" y="1143000"/>
            <a:ext cx="3813048" cy="4949825"/>
          </a:xfrm>
        </p:spPr>
        <p:txBody>
          <a:bodyPr tIns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noProof="0" dirty="0"/>
              <a:t>This is where you make your case with relevant evidence and information. Keep sentences concise. Avoid jargon and repetition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B0940F-7986-44EB-815A-44B573162D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Key message. </a:t>
            </a:r>
            <a:br>
              <a:rPr lang="en-US" dirty="0"/>
            </a:br>
            <a:r>
              <a:rPr lang="en-US" dirty="0"/>
              <a:t>If the audience reads just this, it will be enough. Make every word count. Say it like you would in the </a:t>
            </a:r>
            <a:r>
              <a:rPr lang="en-US"/>
              <a:t>room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79398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43525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4FEF0F-449D-494E-B003-BA0DE42F61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1001" y="1905000"/>
            <a:ext cx="5334000" cy="418782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DA243C-D223-024A-A211-1CD96C9037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76999" y="1905000"/>
            <a:ext cx="5334001" cy="41878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98642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>
          <a:xfrm>
            <a:off x="2867430" y="-1587"/>
            <a:ext cx="322857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3054350" cy="1661993"/>
          </a:xfrm>
        </p:spPr>
        <p:txBody>
          <a:bodyPr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  <a:endParaRPr lang="en-US" dirty="0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D9B22EF-051C-6641-8F7F-89A2A4B7EB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1001" y="2674577"/>
            <a:ext cx="5334000" cy="387798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  <a:p>
            <a:pPr lvl="1"/>
            <a:r>
              <a:rPr lang="en-US"/>
              <a:t>Sub-heading: Add supporting detail.</a:t>
            </a:r>
            <a:endParaRPr lang="en-US" dirty="0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399D3F24-168F-0048-B757-0FF955AB95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6999" y="2674577"/>
            <a:ext cx="5330825" cy="387798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  <a:p>
            <a:pPr lvl="1"/>
            <a:r>
              <a:rPr lang="en-US"/>
              <a:t>Sub-heading: Add supporting detail.</a:t>
            </a:r>
            <a:endParaRPr lang="en-US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03E6240C-8A72-5E4B-AB37-5294174930C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0" y="381000"/>
            <a:ext cx="1896127" cy="190023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picture</a:t>
            </a:r>
          </a:p>
        </p:txBody>
      </p:sp>
      <p:sp>
        <p:nvSpPr>
          <p:cNvPr id="24" name="Picture Placeholder 21">
            <a:extLst>
              <a:ext uri="{FF2B5EF4-FFF2-40B4-BE49-F238E27FC236}">
                <a16:creationId xmlns:a16="http://schemas.microsoft.com/office/drawing/2014/main" id="{98274983-141A-0E4E-9962-52D8DCCA7EF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901237" y="381000"/>
            <a:ext cx="1906587" cy="190023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picture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B95D0E9-C4E7-4A4E-8FC1-1B47E3F4358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81000" y="3429000"/>
            <a:ext cx="5334000" cy="2666999"/>
          </a:xfrm>
        </p:spPr>
        <p:txBody>
          <a:bodyPr tIns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Text Placeholder 16">
            <a:extLst>
              <a:ext uri="{FF2B5EF4-FFF2-40B4-BE49-F238E27FC236}">
                <a16:creationId xmlns:a16="http://schemas.microsoft.com/office/drawing/2014/main" id="{D15AF06C-0067-9540-9FEA-E269C3D5CFD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476999" y="3429000"/>
            <a:ext cx="5330825" cy="2666999"/>
          </a:xfrm>
        </p:spPr>
        <p:txBody>
          <a:bodyPr tIns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308010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>
          <a:xfrm>
            <a:off x="2867430" y="-1587"/>
            <a:ext cx="322857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1000"/>
            <a:ext cx="5334000" cy="830997"/>
          </a:xfrm>
        </p:spPr>
        <p:txBody>
          <a:bodyPr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DA243C-D223-024A-A211-1CD96C9037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77000" y="1143000"/>
            <a:ext cx="5334000" cy="4949825"/>
          </a:xfrm>
        </p:spPr>
        <p:txBody>
          <a:bodyPr tIns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D9B22EF-051C-6641-8F7F-89A2A4B7EB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1001" y="2286000"/>
            <a:ext cx="5334000" cy="37953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  <a:p>
            <a:pPr lvl="1"/>
            <a:r>
              <a:rPr lang="en-US"/>
              <a:t>Sub-heading: Add supporting detail.</a:t>
            </a:r>
            <a:endParaRPr lang="en-US" dirty="0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399D3F24-168F-0048-B757-0FF955AB95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6999" y="381000"/>
            <a:ext cx="5334001" cy="37465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  <a:p>
            <a:pPr lvl="1"/>
            <a:r>
              <a:rPr lang="en-US"/>
              <a:t>Sub-heading: Add supporting detail.</a:t>
            </a:r>
            <a:endParaRPr lang="en-US" dirty="0"/>
          </a:p>
        </p:txBody>
      </p:sp>
      <p:sp>
        <p:nvSpPr>
          <p:cNvPr id="30" name="Text Placeholder 16">
            <a:extLst>
              <a:ext uri="{FF2B5EF4-FFF2-40B4-BE49-F238E27FC236}">
                <a16:creationId xmlns:a16="http://schemas.microsoft.com/office/drawing/2014/main" id="{E26E4537-E8EA-A44C-81E4-2AA24ECCA08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81001" y="3048000"/>
            <a:ext cx="2286000" cy="3044825"/>
          </a:xfrm>
        </p:spPr>
        <p:txBody>
          <a:bodyPr tIns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F9A2B3B9-BB65-4C08-B029-229E91D03C9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429000" y="3048000"/>
            <a:ext cx="2286000" cy="3044825"/>
          </a:xfrm>
        </p:spPr>
        <p:txBody>
          <a:bodyPr tIns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028253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lleng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5897343-393D-0E44-A97B-2079B348B1F9}"/>
              </a:ext>
            </a:extLst>
          </p:cNvPr>
          <p:cNvSpPr/>
          <p:nvPr userDrawn="1"/>
        </p:nvSpPr>
        <p:spPr>
          <a:xfrm>
            <a:off x="3044825" y="0"/>
            <a:ext cx="4575175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631238-F440-4B1F-8D7B-809C61CB62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US" dirty="0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D95ABA3D-BEC2-4D38-9AFA-4954F306F2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04175" y="381000"/>
            <a:ext cx="3806826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  <a:endParaRPr lang="en-US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D8852F4-3A40-41CF-8793-5F648FBC7E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29000" y="381000"/>
            <a:ext cx="3810000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44589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98634137-7ABC-CE46-883D-3127AB6FA2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381000"/>
            <a:ext cx="5334000" cy="374650"/>
          </a:xfrm>
        </p:spPr>
        <p:txBody>
          <a:bodyPr>
            <a:noAutofit/>
          </a:bodyPr>
          <a:lstStyle>
            <a:lvl1pPr marL="0" inden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sz="2000" b="1">
                <a:solidFill>
                  <a:schemeClr val="tx2"/>
                </a:solidFill>
              </a:defRPr>
            </a:lvl1pPr>
            <a:lvl2pPr marL="0" indent="0">
              <a:spcBef>
                <a:spcPct val="0"/>
              </a:spcBef>
              <a:spcAft>
                <a:spcPct val="0"/>
              </a:spcAft>
              <a:buNone/>
              <a:defRPr/>
            </a:lvl2pPr>
            <a:lvl3pPr marL="0" indent="0">
              <a:spcBef>
                <a:spcPct val="0"/>
              </a:spcBef>
              <a:spcAft>
                <a:spcPct val="0"/>
              </a:spcAft>
              <a:buNone/>
              <a:defRPr/>
            </a:lvl3pPr>
            <a:lvl4pPr marL="0" indent="0">
              <a:spcBef>
                <a:spcPct val="0"/>
              </a:spcBef>
              <a:spcAft>
                <a:spcPct val="0"/>
              </a:spcAft>
              <a:buNone/>
              <a:defRPr/>
            </a:lvl4pPr>
            <a:lvl5pPr marL="0" indent="0">
              <a:spcBef>
                <a:spcPct val="0"/>
              </a:spcBef>
              <a:spcAft>
                <a:spcPct val="0"/>
              </a:spcAft>
              <a:buNone/>
              <a:defRPr/>
            </a:lvl5pPr>
          </a:lstStyle>
          <a:p>
            <a:pPr lvl="0"/>
            <a:r>
              <a:rPr lang="en-GB"/>
              <a:t>Action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75495C2-4728-204B-897F-ADE6303F8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524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 sz="3800"/>
            </a:lvl1pPr>
          </a:lstStyle>
          <a:p>
            <a:r>
              <a:rPr lang="en-GB"/>
              <a:t>The ‘so what?’.</a:t>
            </a:r>
            <a:br>
              <a:rPr lang="en-GB"/>
            </a:br>
            <a:r>
              <a:rPr lang="en-GB"/>
              <a:t>How to make a change.</a:t>
            </a:r>
          </a:p>
        </p:txBody>
      </p:sp>
      <p:sp>
        <p:nvSpPr>
          <p:cNvPr id="10" name="Picture Placeholder 21">
            <a:extLst>
              <a:ext uri="{FF2B5EF4-FFF2-40B4-BE49-F238E27FC236}">
                <a16:creationId xmlns:a16="http://schemas.microsoft.com/office/drawing/2014/main" id="{D5BD39DB-569C-A74F-9D4A-0F8F871CD12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6000" y="2"/>
            <a:ext cx="6096000" cy="6857999"/>
          </a:xfrm>
          <a:custGeom>
            <a:avLst/>
            <a:gdLst>
              <a:gd name="connsiteX0" fmla="*/ 0 w 6096000"/>
              <a:gd name="connsiteY0" fmla="*/ 0 h 6857999"/>
              <a:gd name="connsiteX1" fmla="*/ 6096000 w 6096000"/>
              <a:gd name="connsiteY1" fmla="*/ 0 h 6857999"/>
              <a:gd name="connsiteX2" fmla="*/ 6096000 w 6096000"/>
              <a:gd name="connsiteY2" fmla="*/ 2991167 h 6857999"/>
              <a:gd name="connsiteX3" fmla="*/ 4011041 w 6096000"/>
              <a:gd name="connsiteY3" fmla="*/ 2255456 h 6857999"/>
              <a:gd name="connsiteX4" fmla="*/ 755015 w 6096000"/>
              <a:gd name="connsiteY4" fmla="*/ 2255456 h 6857999"/>
              <a:gd name="connsiteX5" fmla="*/ 755015 w 6096000"/>
              <a:gd name="connsiteY5" fmla="*/ 5548756 h 6857999"/>
              <a:gd name="connsiteX6" fmla="*/ 4011041 w 6096000"/>
              <a:gd name="connsiteY6" fmla="*/ 5548756 h 6857999"/>
              <a:gd name="connsiteX7" fmla="*/ 6096000 w 6096000"/>
              <a:gd name="connsiteY7" fmla="*/ 4758753 h 6857999"/>
              <a:gd name="connsiteX8" fmla="*/ 6096000 w 6096000"/>
              <a:gd name="connsiteY8" fmla="*/ 6857999 h 6857999"/>
              <a:gd name="connsiteX9" fmla="*/ 0 w 6096000"/>
              <a:gd name="connsiteY9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7999">
                <a:moveTo>
                  <a:pt x="0" y="0"/>
                </a:moveTo>
                <a:lnTo>
                  <a:pt x="6096000" y="0"/>
                </a:lnTo>
                <a:lnTo>
                  <a:pt x="6096000" y="2991167"/>
                </a:lnTo>
                <a:cubicBezTo>
                  <a:pt x="5805424" y="2561272"/>
                  <a:pt x="5195888" y="2255456"/>
                  <a:pt x="4011041" y="2255456"/>
                </a:cubicBezTo>
                <a:lnTo>
                  <a:pt x="755015" y="2255456"/>
                </a:lnTo>
                <a:lnTo>
                  <a:pt x="755015" y="5548756"/>
                </a:lnTo>
                <a:lnTo>
                  <a:pt x="4011041" y="5548756"/>
                </a:lnTo>
                <a:cubicBezTo>
                  <a:pt x="5209794" y="5548756"/>
                  <a:pt x="5810758" y="5204269"/>
                  <a:pt x="6096000" y="4758753"/>
                </a:cubicBezTo>
                <a:lnTo>
                  <a:pt x="6096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9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defRPr/>
            </a:lvl9pPr>
          </a:lstStyle>
          <a:p>
            <a:pPr marL="0" marR="0" lvl="8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/>
              <a:t>Click to insert image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96DAFEEB-7D02-43C9-8DCE-D1B158CB7688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381000" y="3429000"/>
            <a:ext cx="5334000" cy="2659620"/>
          </a:xfrm>
        </p:spPr>
        <p:txBody>
          <a:bodyPr/>
          <a:lstStyle>
            <a:lvl1pPr marL="171450" indent="-17145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b="0"/>
            </a:lvl1pPr>
            <a:lvl2pPr marL="357188" indent="-179388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b="0"/>
            </a:lvl2pPr>
            <a:lvl3pPr marL="538163" indent="-179388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defRPr b="0"/>
            </a:lvl3pPr>
            <a:lvl4pPr marL="3600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8800224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CD7508A2-A0AF-4811-ACA1-FC84D131531A}"/>
              </a:ext>
            </a:extLst>
          </p:cNvPr>
          <p:cNvSpPr/>
          <p:nvPr userDrawn="1"/>
        </p:nvSpPr>
        <p:spPr>
          <a:xfrm>
            <a:off x="-7168" y="3429000"/>
            <a:ext cx="6101581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AA1EFBD-66C8-4081-AADF-2B4A352FE64D}"/>
              </a:ext>
            </a:extLst>
          </p:cNvPr>
          <p:cNvSpPr/>
          <p:nvPr userDrawn="1"/>
        </p:nvSpPr>
        <p:spPr>
          <a:xfrm>
            <a:off x="0" y="-1587"/>
            <a:ext cx="6096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Picture Placeholder 21">
            <a:extLst>
              <a:ext uri="{FF2B5EF4-FFF2-40B4-BE49-F238E27FC236}">
                <a16:creationId xmlns:a16="http://schemas.microsoft.com/office/drawing/2014/main" id="{3448625E-017A-4951-9ED5-25641345A0F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044825" y="-1587"/>
            <a:ext cx="3051175" cy="34305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picture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3F9026C0-8F42-4CC3-A918-0320C9FEE43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7001" y="381000"/>
            <a:ext cx="5334000" cy="374648"/>
          </a:xfrm>
        </p:spPr>
        <p:txBody>
          <a:bodyPr wrap="square" lIns="0" tIns="0" rIns="0" bIns="0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Selected consulting engagement experience (X years)</a:t>
            </a:r>
            <a:endParaRPr lang="en-US" dirty="0"/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D364477-0314-4F10-9D10-E2EF9653C5E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80999" y="3638446"/>
            <a:ext cx="2667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reas of Expertise</a:t>
            </a:r>
            <a:endParaRPr lang="en-US" dirty="0"/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F7FD24E3-E069-4B35-9C18-F463735BC89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428999" y="3638446"/>
            <a:ext cx="2286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Education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3B904A-F76F-4A89-9C9D-B0B0D1D3C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urname Name</a:t>
            </a:r>
            <a:br>
              <a:rPr lang="en-US"/>
            </a:br>
            <a:r>
              <a:rPr lang="en-US" b="0"/>
              <a:t>Position, Office, Country</a:t>
            </a:r>
            <a:endParaRPr lang="en-US" dirty="0"/>
          </a:p>
        </p:txBody>
      </p:sp>
      <p:grpSp>
        <p:nvGrpSpPr>
          <p:cNvPr id="35" name="Graphic 19">
            <a:extLst>
              <a:ext uri="{FF2B5EF4-FFF2-40B4-BE49-F238E27FC236}">
                <a16:creationId xmlns:a16="http://schemas.microsoft.com/office/drawing/2014/main" id="{0DF2BC8F-BD6E-4BED-A9DD-8DCAEA9A50D4}"/>
              </a:ext>
            </a:extLst>
          </p:cNvPr>
          <p:cNvGrpSpPr/>
          <p:nvPr userDrawn="1"/>
        </p:nvGrpSpPr>
        <p:grpSpPr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36" name="Freeform 21">
              <a:extLst>
                <a:ext uri="{FF2B5EF4-FFF2-40B4-BE49-F238E27FC236}">
                  <a16:creationId xmlns:a16="http://schemas.microsoft.com/office/drawing/2014/main" id="{AC1D5788-EC41-4A64-9CD3-6E3CB88E41EC}"/>
                </a:ext>
              </a:extLst>
            </p:cNvPr>
            <p:cNvSpPr/>
            <p:nvPr/>
          </p:nvSpPr>
          <p:spPr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22">
              <a:extLst>
                <a:ext uri="{FF2B5EF4-FFF2-40B4-BE49-F238E27FC236}">
                  <a16:creationId xmlns:a16="http://schemas.microsoft.com/office/drawing/2014/main" id="{009902B4-2695-4527-B5C8-31F48F2A9654}"/>
                </a:ext>
              </a:extLst>
            </p:cNvPr>
            <p:cNvSpPr/>
            <p:nvPr/>
          </p:nvSpPr>
          <p:spPr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Freeform 23">
              <a:extLst>
                <a:ext uri="{FF2B5EF4-FFF2-40B4-BE49-F238E27FC236}">
                  <a16:creationId xmlns:a16="http://schemas.microsoft.com/office/drawing/2014/main" id="{D3AD1063-D2B8-4B6A-A86D-08AD8E37AAD7}"/>
                </a:ext>
              </a:extLst>
            </p:cNvPr>
            <p:cNvSpPr/>
            <p:nvPr/>
          </p:nvSpPr>
          <p:spPr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24">
              <a:extLst>
                <a:ext uri="{FF2B5EF4-FFF2-40B4-BE49-F238E27FC236}">
                  <a16:creationId xmlns:a16="http://schemas.microsoft.com/office/drawing/2014/main" id="{27E78175-02A9-436A-96A2-9F5365F56578}"/>
                </a:ext>
              </a:extLst>
            </p:cNvPr>
            <p:cNvSpPr/>
            <p:nvPr/>
          </p:nvSpPr>
          <p:spPr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25">
              <a:extLst>
                <a:ext uri="{FF2B5EF4-FFF2-40B4-BE49-F238E27FC236}">
                  <a16:creationId xmlns:a16="http://schemas.microsoft.com/office/drawing/2014/main" id="{17E9070A-F511-4A5B-9153-39FEE2463F81}"/>
                </a:ext>
              </a:extLst>
            </p:cNvPr>
            <p:cNvSpPr/>
            <p:nvPr/>
          </p:nvSpPr>
          <p:spPr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241166F2-3E56-4401-B77D-EB0307B39A0C}"/>
                </a:ext>
              </a:extLst>
            </p:cNvPr>
            <p:cNvSpPr/>
            <p:nvPr/>
          </p:nvSpPr>
          <p:spPr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5F257939-AA22-4BDE-B164-A41F0FA3F5A1}"/>
                </a:ext>
              </a:extLst>
            </p:cNvPr>
            <p:cNvSpPr/>
            <p:nvPr/>
          </p:nvSpPr>
          <p:spPr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BEAE6D84-B6DD-4EDD-AF9D-0557698E1334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80999" y="4014091"/>
            <a:ext cx="2666746" cy="2074529"/>
          </a:xfrm>
        </p:spPr>
        <p:txBody>
          <a:bodyPr/>
          <a:lstStyle>
            <a:lvl1pPr marL="171450" indent="-17145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1pPr>
            <a:lvl2pPr marL="357188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2pPr>
            <a:lvl3pPr marL="538163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tabLst/>
              <a:defRPr/>
            </a:lvl3pPr>
            <a:lvl4pPr marL="360000" indent="0">
              <a:buNone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5" name="Content Placeholder 4">
            <a:extLst>
              <a:ext uri="{FF2B5EF4-FFF2-40B4-BE49-F238E27FC236}">
                <a16:creationId xmlns:a16="http://schemas.microsoft.com/office/drawing/2014/main" id="{5F7F1EA4-C814-480F-B003-45406D81DE96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3427396" y="4014091"/>
            <a:ext cx="2285783" cy="2074529"/>
          </a:xfrm>
        </p:spPr>
        <p:txBody>
          <a:bodyPr/>
          <a:lstStyle>
            <a:lvl1pPr marL="171450" indent="-17145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1pPr>
            <a:lvl2pPr marL="357188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2pPr>
            <a:lvl3pPr marL="538163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tabLst/>
              <a:defRPr/>
            </a:lvl3pPr>
            <a:lvl4pPr marL="360000" indent="0">
              <a:buNone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Content Placeholder 4">
            <a:extLst>
              <a:ext uri="{FF2B5EF4-FFF2-40B4-BE49-F238E27FC236}">
                <a16:creationId xmlns:a16="http://schemas.microsoft.com/office/drawing/2014/main" id="{456734BC-EC09-4012-BD47-6165A89575FC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6477000" y="1143000"/>
            <a:ext cx="2286000" cy="4945620"/>
          </a:xfrm>
        </p:spPr>
        <p:txBody>
          <a:bodyPr/>
          <a:lstStyle>
            <a:lvl1pPr marL="171450" indent="-17145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1pPr>
            <a:lvl2pPr marL="357188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2pPr>
            <a:lvl3pPr marL="538163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tabLst/>
              <a:defRPr/>
            </a:lvl3pPr>
            <a:lvl4pPr marL="360000" indent="0">
              <a:buNone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8" name="Content Placeholder 4">
            <a:extLst>
              <a:ext uri="{FF2B5EF4-FFF2-40B4-BE49-F238E27FC236}">
                <a16:creationId xmlns:a16="http://schemas.microsoft.com/office/drawing/2014/main" id="{E1879581-F0A3-47CC-B8BA-91D70E6D12AD}"/>
              </a:ext>
            </a:extLst>
          </p:cNvPr>
          <p:cNvSpPr>
            <a:spLocks noGrp="1"/>
          </p:cNvSpPr>
          <p:nvPr>
            <p:ph sz="quarter" idx="42"/>
          </p:nvPr>
        </p:nvSpPr>
        <p:spPr>
          <a:xfrm>
            <a:off x="9525000" y="1143000"/>
            <a:ext cx="2286000" cy="4945620"/>
          </a:xfrm>
        </p:spPr>
        <p:txBody>
          <a:bodyPr/>
          <a:lstStyle>
            <a:lvl1pPr marL="171450" indent="-17145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1pPr>
            <a:lvl2pPr marL="357188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2pPr>
            <a:lvl3pPr marL="538163" indent="-179388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tabLst/>
              <a:defRPr/>
            </a:lvl3pPr>
            <a:lvl4pPr marL="360000" indent="0">
              <a:buNone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3D7114F-F639-4ADE-A59A-1DE07A41E53F}"/>
              </a:ext>
            </a:extLst>
          </p:cNvPr>
          <p:cNvSpPr txBox="1"/>
          <p:nvPr userDrawn="1"/>
        </p:nvSpPr>
        <p:spPr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 dirty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73450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7F5CAB5-F976-4C40-89AE-9A89E9C4AC4F}"/>
              </a:ext>
            </a:extLst>
          </p:cNvPr>
          <p:cNvSpPr/>
          <p:nvPr userDrawn="1"/>
        </p:nvSpPr>
        <p:spPr>
          <a:xfrm>
            <a:off x="3048002" y="0"/>
            <a:ext cx="304799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3B78D11-144A-4B42-AA51-7E5FE4BFDAC3}"/>
              </a:ext>
            </a:extLst>
          </p:cNvPr>
          <p:cNvSpPr/>
          <p:nvPr userDrawn="1"/>
        </p:nvSpPr>
        <p:spPr>
          <a:xfrm>
            <a:off x="6096000" y="0"/>
            <a:ext cx="3048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CF47EE3-F5CB-4E44-BC68-EC24C6779C1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048000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796EB4AD-659A-9A47-B141-976732FEBC0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96000" y="0"/>
            <a:ext cx="3048000" cy="2663825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2" name="Picture Placeholder 19">
            <a:extLst>
              <a:ext uri="{FF2B5EF4-FFF2-40B4-BE49-F238E27FC236}">
                <a16:creationId xmlns:a16="http://schemas.microsoft.com/office/drawing/2014/main" id="{8DFD1BD5-98E0-0947-9140-940DFF97013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147359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4CBE62D-52E2-4C4C-AF6E-96D1E5707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9001" y="3048000"/>
            <a:ext cx="2285999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Fourth level bullet</a:t>
            </a:r>
          </a:p>
          <a:p>
            <a:pPr lvl="4"/>
            <a:r>
              <a:rPr lang="en-US"/>
              <a:t>Fifth level bullet</a:t>
            </a:r>
            <a:endParaRPr lang="en-US" dirty="0"/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1C3C4FE2-D60A-3C44-A1A2-F63809BB1E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77001" y="3048000"/>
            <a:ext cx="228600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Fourth level bullet</a:t>
            </a:r>
          </a:p>
          <a:p>
            <a:pPr lvl="4"/>
            <a:r>
              <a:rPr lang="en-US"/>
              <a:t>Fifth level bullet</a:t>
            </a:r>
            <a:endParaRPr lang="en-US" dirty="0"/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39E6F826-10D9-8247-8889-29223C7F84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0" y="3048000"/>
            <a:ext cx="228936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Fourth level bullet</a:t>
            </a:r>
          </a:p>
          <a:p>
            <a:pPr lvl="4"/>
            <a:r>
              <a:rPr lang="en-US"/>
              <a:t>Fifth level bullet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468541-A21A-46F7-AFC4-CBC98C325E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2285999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99311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66F4BDBA-8A7A-4151-9891-CE2FF8030BCB}"/>
              </a:ext>
            </a:extLst>
          </p:cNvPr>
          <p:cNvSpPr/>
          <p:nvPr userDrawn="1"/>
        </p:nvSpPr>
        <p:spPr>
          <a:xfrm>
            <a:off x="3048000" y="0"/>
            <a:ext cx="4572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A6D9F4-AFFE-40C2-A711-D5F9F9523EA2}"/>
              </a:ext>
            </a:extLst>
          </p:cNvPr>
          <p:cNvSpPr/>
          <p:nvPr userDrawn="1"/>
        </p:nvSpPr>
        <p:spPr>
          <a:xfrm>
            <a:off x="3048000" y="3429000"/>
            <a:ext cx="4572000" cy="3429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F887B0-D81F-4D6E-8490-01166A357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US" dirty="0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2F01B772-E707-4318-AFF4-D233B7291D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8973" y="381000"/>
            <a:ext cx="3810000" cy="3574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Situation</a:t>
            </a:r>
            <a:endParaRPr lang="en-US" dirty="0"/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9F9E8AE9-DD63-4653-988B-3750118E13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73" y="3809999"/>
            <a:ext cx="3810000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pproach</a:t>
            </a:r>
            <a:endParaRPr lang="en-US" dirty="0"/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7F035056-C297-4E3D-A5DA-D866119582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00999" y="3809999"/>
            <a:ext cx="3810001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Impact</a:t>
            </a:r>
            <a:endParaRPr lang="en-US" dirty="0"/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FCA46901-ED40-41AA-95AD-ADE9E86C443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28973" y="4187825"/>
            <a:ext cx="381002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FFC8F3DC-2FB3-4CA7-9006-B6A3370B9E0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00944" y="4186238"/>
            <a:ext cx="380926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C88F3AC6-38BB-420F-928B-D3D9DAD55B7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28973" y="765175"/>
            <a:ext cx="3810001" cy="1277273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0" name="Picture Placeholder 20">
            <a:extLst>
              <a:ext uri="{FF2B5EF4-FFF2-40B4-BE49-F238E27FC236}">
                <a16:creationId xmlns:a16="http://schemas.microsoft.com/office/drawing/2014/main" id="{B62EDA09-4F38-47EC-8087-3301CDABF2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620000" y="-1"/>
            <a:ext cx="4572000" cy="3429000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0959026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96CD57-C0DB-43A8-8C5C-A539549839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408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96CD57-C0DB-43A8-8C5C-A53954983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2089A8CE-377D-4B70-A044-B5B63794CD49}"/>
              </a:ext>
            </a:extLst>
          </p:cNvPr>
          <p:cNvSpPr/>
          <p:nvPr userDrawn="1"/>
        </p:nvSpPr>
        <p:spPr>
          <a:xfrm>
            <a:off x="0" y="1524001"/>
            <a:ext cx="3179676" cy="5333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>
          <a:xfrm>
            <a:off x="0" y="-1587"/>
            <a:ext cx="12192000" cy="1525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9" name="Graphic 19">
            <a:extLst>
              <a:ext uri="{FF2B5EF4-FFF2-40B4-BE49-F238E27FC236}">
                <a16:creationId xmlns:a16="http://schemas.microsoft.com/office/drawing/2014/main" id="{E2AD44DB-E4BE-48E0-8F62-15DBB756E093}"/>
              </a:ext>
            </a:extLst>
          </p:cNvPr>
          <p:cNvGrpSpPr/>
          <p:nvPr userDrawn="1"/>
        </p:nvGrpSpPr>
        <p:grpSpPr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20" name="Freeform 21">
              <a:extLst>
                <a:ext uri="{FF2B5EF4-FFF2-40B4-BE49-F238E27FC236}">
                  <a16:creationId xmlns:a16="http://schemas.microsoft.com/office/drawing/2014/main" id="{D9EDA8B2-D76D-463C-84C9-0185631E431D}"/>
                </a:ext>
              </a:extLst>
            </p:cNvPr>
            <p:cNvSpPr/>
            <p:nvPr/>
          </p:nvSpPr>
          <p:spPr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1" name="Freeform 22">
              <a:extLst>
                <a:ext uri="{FF2B5EF4-FFF2-40B4-BE49-F238E27FC236}">
                  <a16:creationId xmlns:a16="http://schemas.microsoft.com/office/drawing/2014/main" id="{089BEC8C-E8E0-466A-AB84-053758789BE8}"/>
                </a:ext>
              </a:extLst>
            </p:cNvPr>
            <p:cNvSpPr/>
            <p:nvPr/>
          </p:nvSpPr>
          <p:spPr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" name="Freeform 23">
              <a:extLst>
                <a:ext uri="{FF2B5EF4-FFF2-40B4-BE49-F238E27FC236}">
                  <a16:creationId xmlns:a16="http://schemas.microsoft.com/office/drawing/2014/main" id="{EF9B4F61-6118-4461-9202-2F3FEFDCA5EE}"/>
                </a:ext>
              </a:extLst>
            </p:cNvPr>
            <p:cNvSpPr/>
            <p:nvPr/>
          </p:nvSpPr>
          <p:spPr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" name="Freeform 24">
              <a:extLst>
                <a:ext uri="{FF2B5EF4-FFF2-40B4-BE49-F238E27FC236}">
                  <a16:creationId xmlns:a16="http://schemas.microsoft.com/office/drawing/2014/main" id="{3BFE760D-733B-4BE0-ABE9-B1AADF47863B}"/>
                </a:ext>
              </a:extLst>
            </p:cNvPr>
            <p:cNvSpPr/>
            <p:nvPr/>
          </p:nvSpPr>
          <p:spPr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" name="Freeform 25">
              <a:extLst>
                <a:ext uri="{FF2B5EF4-FFF2-40B4-BE49-F238E27FC236}">
                  <a16:creationId xmlns:a16="http://schemas.microsoft.com/office/drawing/2014/main" id="{A2BEDB90-47A9-4806-BB41-5778AD529E0D}"/>
                </a:ext>
              </a:extLst>
            </p:cNvPr>
            <p:cNvSpPr/>
            <p:nvPr/>
          </p:nvSpPr>
          <p:spPr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20BF7B9D-48F5-44B5-A629-838B97CB67EF}"/>
                </a:ext>
              </a:extLst>
            </p:cNvPr>
            <p:cNvSpPr/>
            <p:nvPr/>
          </p:nvSpPr>
          <p:spPr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BE4B057E-40BF-4DFD-8FB4-9417EA32342E}"/>
                </a:ext>
              </a:extLst>
            </p:cNvPr>
            <p:cNvSpPr/>
            <p:nvPr/>
          </p:nvSpPr>
          <p:spPr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60416A9F-C813-47A1-BC5C-9781DE143BBC}"/>
              </a:ext>
            </a:extLst>
          </p:cNvPr>
          <p:cNvSpPr txBox="1"/>
          <p:nvPr userDrawn="1"/>
        </p:nvSpPr>
        <p:spPr>
          <a:xfrm>
            <a:off x="381001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8C368-3382-4C28-AE75-DF7C05ACA19D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1E1E1E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E4614CD-0A06-45AD-BFB3-52C98A151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1000"/>
            <a:ext cx="5334000" cy="830997"/>
          </a:xfrm>
        </p:spPr>
        <p:txBody>
          <a:bodyPr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66986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245B73-A482-F64B-86B5-7D35749B6A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2286000" cy="385762"/>
          </a:xfrm>
        </p:spPr>
        <p:txBody>
          <a:bodyPr>
            <a:noAutofit/>
          </a:bodyPr>
          <a:lstStyle/>
          <a:p>
            <a:r>
              <a:rPr lang="en-US"/>
              <a:t>Thank you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0A2A9C-BC2E-E84C-9D64-34631BC47D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43000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  <a:endParaRPr lang="en-US" dirty="0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E2D8C7B-E137-3948-86A5-8EF55583B6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29001" y="1143000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  <a:endParaRPr lang="en-US" dirty="0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E76C799-A2B3-8549-BF01-A5E85152A2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2283532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  <a:endParaRPr lang="en-US" dirty="0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EF35F24-23CB-894F-98A8-27315C4DB2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29001" y="2283532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78BA69A-3076-2A40-8C16-4A197F6CC4C1}"/>
              </a:ext>
            </a:extLst>
          </p:cNvPr>
          <p:cNvSpPr/>
          <p:nvPr userDrawn="1"/>
        </p:nvSpPr>
        <p:spPr>
          <a:xfrm>
            <a:off x="381000" y="5589610"/>
            <a:ext cx="4490864" cy="503215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s document is exclusively intended for selected client employees. Distribution, quotations and duplications – even in the form of extracts – for third parties is only permitted upon prior written consent of Kearney. 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arney used the text and charts compiled in this report in a presentation; they do not represent a complete documentation of the presentation.</a:t>
            </a:r>
          </a:p>
        </p:txBody>
      </p:sp>
      <p:sp>
        <p:nvSpPr>
          <p:cNvPr id="22" name="Picture Placeholder 43">
            <a:extLst>
              <a:ext uri="{FF2B5EF4-FFF2-40B4-BE49-F238E27FC236}">
                <a16:creationId xmlns:a16="http://schemas.microsoft.com/office/drawing/2014/main" id="{763095BA-2E8C-A049-B6E6-B9E92AF228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1858328 w 6096000"/>
              <a:gd name="connsiteY1" fmla="*/ 0 h 6858000"/>
              <a:gd name="connsiteX2" fmla="*/ 3456432 w 6096000"/>
              <a:gd name="connsiteY2" fmla="*/ 2612771 h 6858000"/>
              <a:gd name="connsiteX3" fmla="*/ 5093144 w 6096000"/>
              <a:gd name="connsiteY3" fmla="*/ 0 h 6858000"/>
              <a:gd name="connsiteX4" fmla="*/ 6096000 w 6096000"/>
              <a:gd name="connsiteY4" fmla="*/ 0 h 6858000"/>
              <a:gd name="connsiteX5" fmla="*/ 6096000 w 6096000"/>
              <a:gd name="connsiteY5" fmla="*/ 1283272 h 6858000"/>
              <a:gd name="connsiteX6" fmla="*/ 4272026 w 6096000"/>
              <a:gd name="connsiteY6" fmla="*/ 4115435 h 6858000"/>
              <a:gd name="connsiteX7" fmla="*/ 4272026 w 6096000"/>
              <a:gd name="connsiteY7" fmla="*/ 6858000 h 6858000"/>
              <a:gd name="connsiteX8" fmla="*/ 2650427 w 6096000"/>
              <a:gd name="connsiteY8" fmla="*/ 6858000 h 6858000"/>
              <a:gd name="connsiteX9" fmla="*/ 2650427 w 6096000"/>
              <a:gd name="connsiteY9" fmla="*/ 410629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1858328" y="0"/>
                </a:lnTo>
                <a:lnTo>
                  <a:pt x="3456432" y="2612771"/>
                </a:lnTo>
                <a:lnTo>
                  <a:pt x="5093144" y="0"/>
                </a:lnTo>
                <a:lnTo>
                  <a:pt x="6096000" y="0"/>
                </a:lnTo>
                <a:lnTo>
                  <a:pt x="6096000" y="1283272"/>
                </a:lnTo>
                <a:lnTo>
                  <a:pt x="4272026" y="4115435"/>
                </a:lnTo>
                <a:lnTo>
                  <a:pt x="4272026" y="6858000"/>
                </a:lnTo>
                <a:lnTo>
                  <a:pt x="2650427" y="6858000"/>
                </a:lnTo>
                <a:lnTo>
                  <a:pt x="2650427" y="41062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4D08DEC-6623-4781-9EAF-1AEF06E65F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0" y="3424064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  <a:endParaRPr lang="en-US" dirty="0"/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627CD43-C8BD-456F-B11B-D4CCC5605F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9001" y="3424064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  <a:endParaRPr lang="en-US" dirty="0"/>
          </a:p>
        </p:txBody>
      </p:sp>
      <p:grpSp>
        <p:nvGrpSpPr>
          <p:cNvPr id="26" name="Graphic 19">
            <a:extLst>
              <a:ext uri="{FF2B5EF4-FFF2-40B4-BE49-F238E27FC236}">
                <a16:creationId xmlns:a16="http://schemas.microsoft.com/office/drawing/2014/main" id="{D8D986CC-9B47-4B75-9BCD-29E200D094F9}"/>
              </a:ext>
            </a:extLst>
          </p:cNvPr>
          <p:cNvGrpSpPr/>
          <p:nvPr userDrawn="1"/>
        </p:nvGrpSpPr>
        <p:grpSpPr>
          <a:xfrm>
            <a:off x="381000" y="6250079"/>
            <a:ext cx="1901823" cy="223746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A0E8E75B-ACB1-40EC-91FD-14C0A2D3A476}"/>
                </a:ext>
              </a:extLst>
            </p:cNvPr>
            <p:cNvSpPr/>
            <p:nvPr/>
          </p:nvSpPr>
          <p:spPr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B7A694C7-7536-4187-8B55-E4A46D058B83}"/>
                </a:ext>
              </a:extLst>
            </p:cNvPr>
            <p:cNvSpPr/>
            <p:nvPr/>
          </p:nvSpPr>
          <p:spPr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A90AC4F7-A0F8-47C4-AB3E-F18869A9E4A5}"/>
                </a:ext>
              </a:extLst>
            </p:cNvPr>
            <p:cNvSpPr/>
            <p:nvPr/>
          </p:nvSpPr>
          <p:spPr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B695B17-2FD5-4411-8281-DA58C9A3F944}"/>
                </a:ext>
              </a:extLst>
            </p:cNvPr>
            <p:cNvSpPr/>
            <p:nvPr/>
          </p:nvSpPr>
          <p:spPr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" name="Freeform 15">
              <a:extLst>
                <a:ext uri="{FF2B5EF4-FFF2-40B4-BE49-F238E27FC236}">
                  <a16:creationId xmlns:a16="http://schemas.microsoft.com/office/drawing/2014/main" id="{D6B62859-BAD3-49CA-BA94-73296F549BD0}"/>
                </a:ext>
              </a:extLst>
            </p:cNvPr>
            <p:cNvSpPr/>
            <p:nvPr/>
          </p:nvSpPr>
          <p:spPr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" name="Freeform 16">
              <a:extLst>
                <a:ext uri="{FF2B5EF4-FFF2-40B4-BE49-F238E27FC236}">
                  <a16:creationId xmlns:a16="http://schemas.microsoft.com/office/drawing/2014/main" id="{9199EE27-3DE6-4BFA-A85B-AFDA2A8B959B}"/>
                </a:ext>
              </a:extLst>
            </p:cNvPr>
            <p:cNvSpPr/>
            <p:nvPr/>
          </p:nvSpPr>
          <p:spPr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" name="Freeform 17">
              <a:extLst>
                <a:ext uri="{FF2B5EF4-FFF2-40B4-BE49-F238E27FC236}">
                  <a16:creationId xmlns:a16="http://schemas.microsoft.com/office/drawing/2014/main" id="{2CDF0A25-4EEA-441C-A6E6-F2B07A6E5124}"/>
                </a:ext>
              </a:extLst>
            </p:cNvPr>
            <p:cNvSpPr/>
            <p:nvPr/>
          </p:nvSpPr>
          <p:spPr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pic>
        <p:nvPicPr>
          <p:cNvPr id="34" name="Picture 33" descr="A drawing of a face&#10;&#10;Description automatically generated">
            <a:hlinkClick r:id="rId2"/>
            <a:extLst>
              <a:ext uri="{FF2B5EF4-FFF2-40B4-BE49-F238E27FC236}">
                <a16:creationId xmlns:a16="http://schemas.microsoft.com/office/drawing/2014/main" id="{2A565116-6508-49C7-87EB-B9E5099C289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6715" y="4930812"/>
            <a:ext cx="406400" cy="406400"/>
          </a:xfrm>
          <a:prstGeom prst="rect">
            <a:avLst/>
          </a:prstGeom>
        </p:spPr>
      </p:pic>
      <p:pic>
        <p:nvPicPr>
          <p:cNvPr id="35" name="Picture 34" descr="A picture containing drawing&#10;&#10;Description automatically generated">
            <a:hlinkClick r:id="rId4"/>
            <a:extLst>
              <a:ext uri="{FF2B5EF4-FFF2-40B4-BE49-F238E27FC236}">
                <a16:creationId xmlns:a16="http://schemas.microsoft.com/office/drawing/2014/main" id="{E7007630-77E7-42BB-BAA5-FAF0126C0AB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9640" y="4930812"/>
            <a:ext cx="406400" cy="406400"/>
          </a:xfrm>
          <a:prstGeom prst="rect">
            <a:avLst/>
          </a:prstGeom>
        </p:spPr>
      </p:pic>
      <p:pic>
        <p:nvPicPr>
          <p:cNvPr id="36" name="Picture 35" descr="A picture containing drawing&#10;&#10;Description automatically generated">
            <a:hlinkClick r:id="rId6"/>
            <a:extLst>
              <a:ext uri="{FF2B5EF4-FFF2-40B4-BE49-F238E27FC236}">
                <a16:creationId xmlns:a16="http://schemas.microsoft.com/office/drawing/2014/main" id="{181FE440-240E-4D13-A503-8BD65F04EFB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72565" y="4930812"/>
            <a:ext cx="406400" cy="406400"/>
          </a:xfrm>
          <a:prstGeom prst="rect">
            <a:avLst/>
          </a:prstGeom>
        </p:spPr>
      </p:pic>
      <p:pic>
        <p:nvPicPr>
          <p:cNvPr id="37" name="Picture 36" descr="A picture containing drawing&#10;&#10;Description automatically generated">
            <a:hlinkClick r:id="rId8"/>
            <a:extLst>
              <a:ext uri="{FF2B5EF4-FFF2-40B4-BE49-F238E27FC236}">
                <a16:creationId xmlns:a16="http://schemas.microsoft.com/office/drawing/2014/main" id="{0937E484-B066-45FF-98FD-C64958D62237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58415" y="4924954"/>
            <a:ext cx="406400" cy="406400"/>
          </a:xfrm>
          <a:prstGeom prst="rect">
            <a:avLst/>
          </a:prstGeom>
        </p:spPr>
      </p:pic>
      <p:pic>
        <p:nvPicPr>
          <p:cNvPr id="38" name="Picture 37" descr="A drawing of a face&#10;&#10;Description automatically generated">
            <a:hlinkClick r:id="rId10"/>
            <a:extLst>
              <a:ext uri="{FF2B5EF4-FFF2-40B4-BE49-F238E27FC236}">
                <a16:creationId xmlns:a16="http://schemas.microsoft.com/office/drawing/2014/main" id="{EDC82321-65DC-4E2A-9F1D-5B9B67135F0E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15490" y="4924954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957424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25C4D7CF-6868-C642-B298-65F96507D5DD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81000" y="1524000"/>
            <a:ext cx="11430005" cy="4572000"/>
          </a:xfrm>
        </p:spPr>
        <p:txBody>
          <a:bodyPr tIns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 marL="269875" indent="-269875">
              <a:defRPr/>
            </a:lvl2pPr>
            <a:lvl3pPr marL="538163" indent="-268288">
              <a:defRPr/>
            </a:lvl3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This is where you make your case with relevant evidence and information. Keep sentences concise. Avoid jargon and repetition.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2437D2-0C37-0649-A16C-F49421D394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775597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Key message. If the audience reads just this, it will be enough.</a:t>
            </a:r>
          </a:p>
        </p:txBody>
      </p:sp>
    </p:spTree>
    <p:extLst>
      <p:ext uri="{BB962C8B-B14F-4D97-AF65-F5344CB8AC3E}">
        <p14:creationId xmlns:p14="http://schemas.microsoft.com/office/powerpoint/2010/main" val="16090306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85AC00-A7C6-4237-A512-4F05C9B1B1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4748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1" imgH="340" progId="TCLayout.ActiveDocument.1">
                  <p:embed/>
                </p:oleObj>
              </mc:Choice>
              <mc:Fallback>
                <p:oleObj name="think-cell Slide" r:id="rId3" imgW="341" imgH="34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85AC00-A7C6-4237-A512-4F05C9B1B1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3AD4FE1-9E37-084D-B5CD-5C8B5F3169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0"/>
            <a:ext cx="5334000" cy="1518442"/>
          </a:xfrm>
        </p:spPr>
        <p:txBody>
          <a:bodyPr vert="horz" lIns="0" rIns="0" anchor="t">
            <a:noAutofit/>
          </a:bodyPr>
          <a:lstStyle>
            <a:lvl1pPr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800"/>
            </a:lvl1pPr>
          </a:lstStyle>
          <a:p>
            <a:r>
              <a:rPr lang="en-US"/>
              <a:t>What are you here </a:t>
            </a:r>
            <a:br>
              <a:rPr lang="en-US"/>
            </a:br>
            <a:r>
              <a:rPr lang="en-US"/>
              <a:t>to say? Set the tone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8B117B-053B-D74C-BAD6-ABB3754D81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2667000"/>
            <a:ext cx="5334000" cy="1143000"/>
          </a:xfrm>
        </p:spPr>
        <p:txBody>
          <a:bodyPr lIns="0" rIns="0"/>
          <a:lstStyle>
            <a:lvl1pPr marL="0" indent="952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000" b="1"/>
            </a:lvl1pPr>
            <a:lvl2pPr marL="0" marR="0" indent="95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2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0" indent="9525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4pPr>
            <a:lvl5pPr marL="0" indent="-1819275" algn="l">
              <a:spcAft>
                <a:spcPts val="0"/>
              </a:spcAft>
              <a:buNone/>
              <a:tabLst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Add supporting detail</a:t>
            </a:r>
          </a:p>
          <a:p>
            <a:pPr lvl="1"/>
            <a:r>
              <a:rPr lang="en-US"/>
              <a:t>Date</a:t>
            </a:r>
          </a:p>
        </p:txBody>
      </p:sp>
      <p:grpSp>
        <p:nvGrpSpPr>
          <p:cNvPr id="7" name="Graphic 19">
            <a:extLst>
              <a:ext uri="{FF2B5EF4-FFF2-40B4-BE49-F238E27FC236}">
                <a16:creationId xmlns:a16="http://schemas.microsoft.com/office/drawing/2014/main" id="{CFAC16B0-F4A7-F543-918F-33686B72247A}"/>
              </a:ext>
            </a:extLst>
          </p:cNvPr>
          <p:cNvGrpSpPr/>
          <p:nvPr userDrawn="1"/>
        </p:nvGrpSpPr>
        <p:grpSpPr>
          <a:xfrm>
            <a:off x="381000" y="6250079"/>
            <a:ext cx="1901823" cy="223746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BC16B120-E914-4346-836A-D2EE39F39E8D}"/>
                </a:ext>
              </a:extLst>
            </p:cNvPr>
            <p:cNvSpPr/>
            <p:nvPr/>
          </p:nvSpPr>
          <p:spPr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D87A3A-326D-9340-9F69-A97A7A06294C}"/>
                </a:ext>
              </a:extLst>
            </p:cNvPr>
            <p:cNvSpPr/>
            <p:nvPr/>
          </p:nvSpPr>
          <p:spPr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832AA57B-83BA-2244-849F-D6B0F8C0D10A}"/>
                </a:ext>
              </a:extLst>
            </p:cNvPr>
            <p:cNvSpPr/>
            <p:nvPr/>
          </p:nvSpPr>
          <p:spPr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296E0F56-C15D-674F-82EC-61F7B1492288}"/>
                </a:ext>
              </a:extLst>
            </p:cNvPr>
            <p:cNvSpPr/>
            <p:nvPr/>
          </p:nvSpPr>
          <p:spPr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9CFA5212-33F7-9C47-A438-BABBB8B9B3A0}"/>
                </a:ext>
              </a:extLst>
            </p:cNvPr>
            <p:cNvSpPr/>
            <p:nvPr/>
          </p:nvSpPr>
          <p:spPr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F45CE236-8278-CC45-B4BB-6302999FC65C}"/>
                </a:ext>
              </a:extLst>
            </p:cNvPr>
            <p:cNvSpPr/>
            <p:nvPr/>
          </p:nvSpPr>
          <p:spPr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DAFDB6AE-4ADA-5545-9E6D-0ADCA24EE7E4}"/>
                </a:ext>
              </a:extLst>
            </p:cNvPr>
            <p:cNvSpPr/>
            <p:nvPr/>
          </p:nvSpPr>
          <p:spPr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15" name="Picture Placeholder 33">
            <a:extLst>
              <a:ext uri="{FF2B5EF4-FFF2-40B4-BE49-F238E27FC236}">
                <a16:creationId xmlns:a16="http://schemas.microsoft.com/office/drawing/2014/main" id="{1D5CCC86-3F10-B647-A528-00A82173898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02350" y="0"/>
            <a:ext cx="6089650" cy="6858000"/>
          </a:xfrm>
          <a:custGeom>
            <a:avLst/>
            <a:gdLst>
              <a:gd name="connsiteX0" fmla="*/ 0 w 6089650"/>
              <a:gd name="connsiteY0" fmla="*/ 0 h 6858000"/>
              <a:gd name="connsiteX1" fmla="*/ 1595374 w 6089650"/>
              <a:gd name="connsiteY1" fmla="*/ 0 h 6858000"/>
              <a:gd name="connsiteX2" fmla="*/ 1595374 w 6089650"/>
              <a:gd name="connsiteY2" fmla="*/ 2523300 h 6858000"/>
              <a:gd name="connsiteX3" fmla="*/ 2028381 w 6089650"/>
              <a:gd name="connsiteY3" fmla="*/ 2523300 h 6858000"/>
              <a:gd name="connsiteX4" fmla="*/ 4196207 w 6089650"/>
              <a:gd name="connsiteY4" fmla="*/ 0 h 6858000"/>
              <a:gd name="connsiteX5" fmla="*/ 6089650 w 6089650"/>
              <a:gd name="connsiteY5" fmla="*/ 0 h 6858000"/>
              <a:gd name="connsiteX6" fmla="*/ 6089650 w 6089650"/>
              <a:gd name="connsiteY6" fmla="*/ 149543 h 6858000"/>
              <a:gd name="connsiteX7" fmla="*/ 3336607 w 6089650"/>
              <a:gd name="connsiteY7" fmla="*/ 3429000 h 6858000"/>
              <a:gd name="connsiteX8" fmla="*/ 6089650 w 6089650"/>
              <a:gd name="connsiteY8" fmla="*/ 6708394 h 6858000"/>
              <a:gd name="connsiteX9" fmla="*/ 6089650 w 6089650"/>
              <a:gd name="connsiteY9" fmla="*/ 6858000 h 6858000"/>
              <a:gd name="connsiteX10" fmla="*/ 4197350 w 6089650"/>
              <a:gd name="connsiteY10" fmla="*/ 6858000 h 6858000"/>
              <a:gd name="connsiteX11" fmla="*/ 2049907 w 6089650"/>
              <a:gd name="connsiteY11" fmla="*/ 4309428 h 6858000"/>
              <a:gd name="connsiteX12" fmla="*/ 1595311 w 6089650"/>
              <a:gd name="connsiteY12" fmla="*/ 4309301 h 6858000"/>
              <a:gd name="connsiteX13" fmla="*/ 1595311 w 6089650"/>
              <a:gd name="connsiteY13" fmla="*/ 6858000 h 6858000"/>
              <a:gd name="connsiteX14" fmla="*/ 0 w 6089650"/>
              <a:gd name="connsiteY1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89650" h="6858000">
                <a:moveTo>
                  <a:pt x="0" y="0"/>
                </a:moveTo>
                <a:lnTo>
                  <a:pt x="1595374" y="0"/>
                </a:lnTo>
                <a:lnTo>
                  <a:pt x="1595374" y="2523300"/>
                </a:lnTo>
                <a:lnTo>
                  <a:pt x="2028381" y="2523300"/>
                </a:lnTo>
                <a:lnTo>
                  <a:pt x="4196207" y="0"/>
                </a:lnTo>
                <a:lnTo>
                  <a:pt x="6089650" y="0"/>
                </a:lnTo>
                <a:lnTo>
                  <a:pt x="6089650" y="149543"/>
                </a:lnTo>
                <a:lnTo>
                  <a:pt x="3336607" y="3429000"/>
                </a:lnTo>
                <a:lnTo>
                  <a:pt x="6089650" y="6708394"/>
                </a:lnTo>
                <a:lnTo>
                  <a:pt x="6089650" y="6858000"/>
                </a:lnTo>
                <a:lnTo>
                  <a:pt x="4197350" y="6858000"/>
                </a:lnTo>
                <a:lnTo>
                  <a:pt x="2049907" y="4309428"/>
                </a:lnTo>
                <a:lnTo>
                  <a:pt x="1595311" y="4309301"/>
                </a:lnTo>
                <a:lnTo>
                  <a:pt x="159531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algn="l" rtl="0">
              <a:defRPr sz="11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image</a:t>
            </a:r>
          </a:p>
        </p:txBody>
      </p:sp>
    </p:spTree>
    <p:extLst>
      <p:ext uri="{BB962C8B-B14F-4D97-AF65-F5344CB8AC3E}">
        <p14:creationId xmlns:p14="http://schemas.microsoft.com/office/powerpoint/2010/main" val="16500653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4826DAF-AE4B-4933-9347-6F4C0E393F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6393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1" imgH="340" progId="TCLayout.ActiveDocument.1">
                  <p:embed/>
                </p:oleObj>
              </mc:Choice>
              <mc:Fallback>
                <p:oleObj name="think-cell Slide" r:id="rId3" imgW="341" imgH="34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4826DAF-AE4B-4933-9347-6F4C0E393F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3F9F64B-940B-43E0-8291-E8A36A1AE55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428999" y="381001"/>
            <a:ext cx="8382001" cy="5715000"/>
          </a:xfrm>
        </p:spPr>
        <p:txBody>
          <a:bodyPr/>
          <a:lstStyle>
            <a:lvl1pPr rtl="0">
              <a:defRPr sz="2000" b="1">
                <a:solidFill>
                  <a:schemeClr val="tx2"/>
                </a:solidFill>
              </a:defRPr>
            </a:lvl1pPr>
            <a:lvl2pPr marL="0" indent="0" rtl="0">
              <a:buNone/>
              <a:defRPr/>
            </a:lvl2pPr>
            <a:lvl3pPr marL="180975" indent="-179388" rtl="0">
              <a:defRPr/>
            </a:lvl3pPr>
            <a:lvl4pPr marL="357188" indent="-179388" rtl="0">
              <a:defRPr/>
            </a:lvl4pPr>
            <a:lvl5pPr marL="538163" indent="-179388"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6F9B490-F790-4671-9748-99A165BDC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18148391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A3EBD17-E431-4347-8C3F-2B10220B78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3298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1" imgH="340" progId="TCLayout.ActiveDocument.1">
                  <p:embed/>
                </p:oleObj>
              </mc:Choice>
              <mc:Fallback>
                <p:oleObj name="think-cell Slide" r:id="rId3" imgW="341" imgH="34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A3EBD17-E431-4347-8C3F-2B10220B78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CAA8CDD-85D5-455D-B49F-664C574260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6237" y="381000"/>
            <a:ext cx="11434763" cy="5335587"/>
          </a:xfrm>
        </p:spPr>
        <p:txBody>
          <a:bodyPr/>
          <a:lstStyle>
            <a:lvl1pPr marL="1143000" marR="0" indent="-114300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1pPr>
            <a:lvl2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2pPr>
            <a:lvl3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3pPr>
            <a:lvl4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4pPr>
            <a:lvl5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500846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47065A8-FE0C-4E45-8273-572C0E002B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92453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47065A8-FE0C-4E45-8273-572C0E002B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3D906BB-B766-4A81-982C-FF509E5EC78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51A428E3-848B-4A4F-88B3-C1AC15148599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477001" y="0"/>
            <a:ext cx="5714999" cy="6858000"/>
          </a:xfrm>
          <a:custGeom>
            <a:avLst/>
            <a:gdLst>
              <a:gd name="connsiteX0" fmla="*/ 0 w 5629275"/>
              <a:gd name="connsiteY0" fmla="*/ 0 h 6858000"/>
              <a:gd name="connsiteX1" fmla="*/ 5629275 w 5629275"/>
              <a:gd name="connsiteY1" fmla="*/ 0 h 6858000"/>
              <a:gd name="connsiteX2" fmla="*/ 5629275 w 5629275"/>
              <a:gd name="connsiteY2" fmla="*/ 1423986 h 6858000"/>
              <a:gd name="connsiteX3" fmla="*/ 1566860 w 5629275"/>
              <a:gd name="connsiteY3" fmla="*/ 1423986 h 6858000"/>
              <a:gd name="connsiteX4" fmla="*/ 1566860 w 5629275"/>
              <a:gd name="connsiteY4" fmla="*/ 2709861 h 6858000"/>
              <a:gd name="connsiteX5" fmla="*/ 5072061 w 5629275"/>
              <a:gd name="connsiteY5" fmla="*/ 2709861 h 6858000"/>
              <a:gd name="connsiteX6" fmla="*/ 5072061 w 5629275"/>
              <a:gd name="connsiteY6" fmla="*/ 4204704 h 6858000"/>
              <a:gd name="connsiteX7" fmla="*/ 1566860 w 5629275"/>
              <a:gd name="connsiteY7" fmla="*/ 4204704 h 6858000"/>
              <a:gd name="connsiteX8" fmla="*/ 1566860 w 5629275"/>
              <a:gd name="connsiteY8" fmla="*/ 5386387 h 6858000"/>
              <a:gd name="connsiteX9" fmla="*/ 5629275 w 5629275"/>
              <a:gd name="connsiteY9" fmla="*/ 5386387 h 6858000"/>
              <a:gd name="connsiteX10" fmla="*/ 5629275 w 5629275"/>
              <a:gd name="connsiteY10" fmla="*/ 6858000 h 6858000"/>
              <a:gd name="connsiteX11" fmla="*/ 0 w 5629275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629275" h="6858000">
                <a:moveTo>
                  <a:pt x="0" y="0"/>
                </a:moveTo>
                <a:lnTo>
                  <a:pt x="5629275" y="0"/>
                </a:lnTo>
                <a:lnTo>
                  <a:pt x="5629275" y="1423986"/>
                </a:lnTo>
                <a:lnTo>
                  <a:pt x="1566860" y="1423986"/>
                </a:lnTo>
                <a:lnTo>
                  <a:pt x="1566860" y="2709861"/>
                </a:lnTo>
                <a:lnTo>
                  <a:pt x="5072061" y="2709861"/>
                </a:lnTo>
                <a:lnTo>
                  <a:pt x="5072061" y="4204704"/>
                </a:lnTo>
                <a:lnTo>
                  <a:pt x="1566860" y="4204704"/>
                </a:lnTo>
                <a:lnTo>
                  <a:pt x="1566860" y="5386387"/>
                </a:lnTo>
                <a:lnTo>
                  <a:pt x="5629275" y="5386387"/>
                </a:lnTo>
                <a:lnTo>
                  <a:pt x="56292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 vert="horz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Set the scene.</a:t>
            </a:r>
            <a:br>
              <a:rPr lang="en-US"/>
            </a:br>
            <a:r>
              <a:rPr lang="en-US"/>
              <a:t>Cover the context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E1206B-8429-4EF3-BAFD-1AE585D9C24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 rtl="0"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 rtl="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 rtl="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3712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01EA128-4E92-46A3-B8EE-474F087E3FF2}"/>
              </a:ext>
            </a:extLst>
          </p:cNvPr>
          <p:cNvSpPr/>
          <p:nvPr userDrawn="1"/>
        </p:nvSpPr>
        <p:spPr>
          <a:xfrm>
            <a:off x="11064552" y="6536518"/>
            <a:ext cx="828092" cy="2520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C9093CB6-8F34-9640-9439-EDEDF08C59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381000"/>
            <a:ext cx="5334000" cy="374650"/>
          </a:xfrm>
        </p:spPr>
        <p:txBody>
          <a:bodyPr>
            <a:noAutofit/>
          </a:bodyPr>
          <a:lstStyle>
            <a:lvl1pPr marL="0" inden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sz="2000" b="1">
                <a:solidFill>
                  <a:schemeClr val="tx2"/>
                </a:solidFill>
              </a:defRPr>
            </a:lvl1pPr>
            <a:lvl2pPr marL="0" indent="0">
              <a:spcBef>
                <a:spcPct val="0"/>
              </a:spcBef>
              <a:spcAft>
                <a:spcPct val="0"/>
              </a:spcAft>
              <a:buNone/>
              <a:defRPr/>
            </a:lvl2pPr>
            <a:lvl3pPr marL="0" indent="0">
              <a:spcBef>
                <a:spcPct val="0"/>
              </a:spcBef>
              <a:spcAft>
                <a:spcPct val="0"/>
              </a:spcAft>
              <a:buNone/>
              <a:defRPr/>
            </a:lvl3pPr>
            <a:lvl4pPr marL="0" indent="0">
              <a:spcBef>
                <a:spcPct val="0"/>
              </a:spcBef>
              <a:spcAft>
                <a:spcPct val="0"/>
              </a:spcAft>
              <a:buNone/>
              <a:defRPr/>
            </a:lvl4pPr>
            <a:lvl5pPr marL="0" indent="0">
              <a:spcBef>
                <a:spcPct val="0"/>
              </a:spcBef>
              <a:spcAft>
                <a:spcPct val="0"/>
              </a:spcAft>
              <a:buNone/>
              <a:defRPr/>
            </a:lvl5pPr>
          </a:lstStyle>
          <a:p>
            <a:pPr lvl="0"/>
            <a:r>
              <a:rPr lang="en-GB"/>
              <a:t>Appendix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524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 sz="3800"/>
            </a:lvl1pPr>
          </a:lstStyle>
          <a:p>
            <a:r>
              <a:rPr lang="en-GB"/>
              <a:t>For further reading.</a:t>
            </a:r>
          </a:p>
        </p:txBody>
      </p:sp>
      <p:sp>
        <p:nvSpPr>
          <p:cNvPr id="10" name="Picture Placeholder 17">
            <a:extLst>
              <a:ext uri="{FF2B5EF4-FFF2-40B4-BE49-F238E27FC236}">
                <a16:creationId xmlns:a16="http://schemas.microsoft.com/office/drawing/2014/main" id="{F77725FD-D57B-3A41-8390-15C08788EB1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6000" y="2"/>
            <a:ext cx="6096000" cy="6857999"/>
          </a:xfrm>
          <a:custGeom>
            <a:avLst/>
            <a:gdLst>
              <a:gd name="connsiteX0" fmla="*/ 0 w 6096000"/>
              <a:gd name="connsiteY0" fmla="*/ 0 h 6857999"/>
              <a:gd name="connsiteX1" fmla="*/ 5274058 w 6096000"/>
              <a:gd name="connsiteY1" fmla="*/ 0 h 6857999"/>
              <a:gd name="connsiteX2" fmla="*/ 6096000 w 6096000"/>
              <a:gd name="connsiteY2" fmla="*/ 1098549 h 6857999"/>
              <a:gd name="connsiteX3" fmla="*/ 6096000 w 6096000"/>
              <a:gd name="connsiteY3" fmla="*/ 6663118 h 6857999"/>
              <a:gd name="connsiteX4" fmla="*/ 3179953 w 6096000"/>
              <a:gd name="connsiteY4" fmla="*/ 2769996 h 6857999"/>
              <a:gd name="connsiteX5" fmla="*/ 3179890 w 6096000"/>
              <a:gd name="connsiteY5" fmla="*/ 6857999 h 6857999"/>
              <a:gd name="connsiteX6" fmla="*/ 0 w 6096000"/>
              <a:gd name="connsiteY6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6000" h="6857999">
                <a:moveTo>
                  <a:pt x="0" y="0"/>
                </a:moveTo>
                <a:lnTo>
                  <a:pt x="5274058" y="0"/>
                </a:lnTo>
                <a:lnTo>
                  <a:pt x="6096000" y="1098549"/>
                </a:lnTo>
                <a:lnTo>
                  <a:pt x="6096000" y="6663118"/>
                </a:lnTo>
                <a:lnTo>
                  <a:pt x="3179953" y="2769996"/>
                </a:lnTo>
                <a:lnTo>
                  <a:pt x="317989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defRPr sz="11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/>
              <a:t>Click to insert image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90172A89-27F1-48CB-B53F-3DD6FAC7D96F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381000" y="3429000"/>
            <a:ext cx="5334000" cy="2659620"/>
          </a:xfrm>
        </p:spPr>
        <p:txBody>
          <a:bodyPr/>
          <a:lstStyle>
            <a:lvl1pPr marL="171450" indent="-17145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b="0"/>
            </a:lvl1pPr>
            <a:lvl2pPr marL="357188" indent="-179388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b="0"/>
            </a:lvl2pPr>
            <a:lvl3pPr marL="538163" indent="-179388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defRPr b="0"/>
            </a:lvl3pPr>
            <a:lvl4pPr marL="3600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6649599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s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1126D42-B0E9-499F-A915-8A39956BF8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244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1126D42-B0E9-499F-A915-8A39956BF8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52BC96C-63C5-4844-96EE-D90D933B1DF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34001" cy="1524000"/>
          </a:xfrm>
        </p:spPr>
        <p:txBody>
          <a:bodyPr vert="horz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Make your case.</a:t>
            </a:r>
            <a:br>
              <a:rPr lang="en-US"/>
            </a:br>
            <a:r>
              <a:rPr lang="en-US"/>
              <a:t>Show the proof.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1FB390D-B9A1-4431-8429-E440C2BE686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5726131" y="0"/>
            <a:ext cx="6465869" cy="6856413"/>
          </a:xfrm>
          <a:custGeom>
            <a:avLst/>
            <a:gdLst>
              <a:gd name="connsiteX0" fmla="*/ 3570285 w 6465869"/>
              <a:gd name="connsiteY0" fmla="*/ 2074129 h 6856413"/>
              <a:gd name="connsiteX1" fmla="*/ 2780173 w 6465869"/>
              <a:gd name="connsiteY1" fmla="*/ 3992705 h 6856413"/>
              <a:gd name="connsiteX2" fmla="*/ 4357474 w 6465869"/>
              <a:gd name="connsiteY2" fmla="*/ 3992705 h 6856413"/>
              <a:gd name="connsiteX3" fmla="*/ 2786873 w 6465869"/>
              <a:gd name="connsiteY3" fmla="*/ 0 h 6856413"/>
              <a:gd name="connsiteX4" fmla="*/ 4349150 w 6465869"/>
              <a:gd name="connsiteY4" fmla="*/ 0 h 6856413"/>
              <a:gd name="connsiteX5" fmla="*/ 6465869 w 6465869"/>
              <a:gd name="connsiteY5" fmla="*/ 5210627 h 6856413"/>
              <a:gd name="connsiteX6" fmla="*/ 6465869 w 6465869"/>
              <a:gd name="connsiteY6" fmla="*/ 6856413 h 6856413"/>
              <a:gd name="connsiteX7" fmla="*/ 5487503 w 6465869"/>
              <a:gd name="connsiteY7" fmla="*/ 6856413 h 6856413"/>
              <a:gd name="connsiteX8" fmla="*/ 4896573 w 6465869"/>
              <a:gd name="connsiteY8" fmla="*/ 5390820 h 6856413"/>
              <a:gd name="connsiteX9" fmla="*/ 2199618 w 6465869"/>
              <a:gd name="connsiteY9" fmla="*/ 5390820 h 6856413"/>
              <a:gd name="connsiteX10" fmla="*/ 1612707 w 6465869"/>
              <a:gd name="connsiteY10" fmla="*/ 6856413 h 6856413"/>
              <a:gd name="connsiteX11" fmla="*/ 0 w 6465869"/>
              <a:gd name="connsiteY11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465869" h="6856413">
                <a:moveTo>
                  <a:pt x="3570285" y="2074129"/>
                </a:moveTo>
                <a:lnTo>
                  <a:pt x="2780173" y="3992705"/>
                </a:lnTo>
                <a:lnTo>
                  <a:pt x="4357474" y="3992705"/>
                </a:lnTo>
                <a:close/>
                <a:moveTo>
                  <a:pt x="2786873" y="0"/>
                </a:moveTo>
                <a:lnTo>
                  <a:pt x="4349150" y="0"/>
                </a:lnTo>
                <a:lnTo>
                  <a:pt x="6465869" y="5210627"/>
                </a:lnTo>
                <a:lnTo>
                  <a:pt x="6465869" y="6856413"/>
                </a:lnTo>
                <a:lnTo>
                  <a:pt x="5487503" y="6856413"/>
                </a:lnTo>
                <a:lnTo>
                  <a:pt x="4896573" y="5390820"/>
                </a:lnTo>
                <a:lnTo>
                  <a:pt x="2199618" y="5390820"/>
                </a:lnTo>
                <a:lnTo>
                  <a:pt x="1612707" y="6856413"/>
                </a:lnTo>
                <a:lnTo>
                  <a:pt x="0" y="68564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BEAD478-665D-496C-B00E-61831230A9ED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 rtl="0"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 rtl="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 rtl="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591194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76B111-B678-4C87-B9DB-258250659E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7933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76B111-B678-4C87-B9DB-258250659E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933C2C-4ED0-4B82-8997-E93AEB96EC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75495C2-4728-204B-897F-ADE6303F8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 vert="horz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The ‘so what?’.</a:t>
            </a:r>
            <a:br>
              <a:rPr lang="en-US"/>
            </a:br>
            <a:r>
              <a:rPr lang="en-US"/>
              <a:t>How to make a change.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F682349-BFFC-4F99-8587-BDD310D1943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1"/>
            <a:ext cx="6096000" cy="6856412"/>
          </a:xfrm>
          <a:custGeom>
            <a:avLst/>
            <a:gdLst>
              <a:gd name="connsiteX0" fmla="*/ 1514163 w 6096000"/>
              <a:gd name="connsiteY0" fmla="*/ 1272567 h 6856412"/>
              <a:gd name="connsiteX1" fmla="*/ 1514163 w 6096000"/>
              <a:gd name="connsiteY1" fmla="*/ 2918854 h 6856412"/>
              <a:gd name="connsiteX2" fmla="*/ 3141813 w 6096000"/>
              <a:gd name="connsiteY2" fmla="*/ 2918854 h 6856412"/>
              <a:gd name="connsiteX3" fmla="*/ 4300976 w 6096000"/>
              <a:gd name="connsiteY3" fmla="*/ 2074657 h 6856412"/>
              <a:gd name="connsiteX4" fmla="*/ 3141813 w 6096000"/>
              <a:gd name="connsiteY4" fmla="*/ 1272648 h 6856412"/>
              <a:gd name="connsiteX5" fmla="*/ 0 w 6096000"/>
              <a:gd name="connsiteY5" fmla="*/ 0 h 6856412"/>
              <a:gd name="connsiteX6" fmla="*/ 3371063 w 6096000"/>
              <a:gd name="connsiteY6" fmla="*/ 0 h 6856412"/>
              <a:gd name="connsiteX7" fmla="*/ 5764098 w 6096000"/>
              <a:gd name="connsiteY7" fmla="*/ 1914880 h 6856412"/>
              <a:gd name="connsiteX8" fmla="*/ 4473298 w 6096000"/>
              <a:gd name="connsiteY8" fmla="*/ 3946539 h 6856412"/>
              <a:gd name="connsiteX9" fmla="*/ 4067868 w 6096000"/>
              <a:gd name="connsiteY9" fmla="*/ 4051622 h 6856412"/>
              <a:gd name="connsiteX10" fmla="*/ 6096000 w 6096000"/>
              <a:gd name="connsiteY10" fmla="*/ 6743454 h 6856412"/>
              <a:gd name="connsiteX11" fmla="*/ 6096000 w 6096000"/>
              <a:gd name="connsiteY11" fmla="*/ 6856412 h 6856412"/>
              <a:gd name="connsiteX12" fmla="*/ 4434202 w 6096000"/>
              <a:gd name="connsiteY12" fmla="*/ 6856412 h 6856412"/>
              <a:gd name="connsiteX13" fmla="*/ 2428564 w 6096000"/>
              <a:gd name="connsiteY13" fmla="*/ 4203318 h 6856412"/>
              <a:gd name="connsiteX14" fmla="*/ 1514081 w 6096000"/>
              <a:gd name="connsiteY14" fmla="*/ 4203318 h 6856412"/>
              <a:gd name="connsiteX15" fmla="*/ 1514163 w 6096000"/>
              <a:gd name="connsiteY15" fmla="*/ 6856412 h 6856412"/>
              <a:gd name="connsiteX16" fmla="*/ 0 w 6096000"/>
              <a:gd name="connsiteY16" fmla="*/ 6856412 h 6856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096000" h="6856412">
                <a:moveTo>
                  <a:pt x="1514163" y="1272567"/>
                </a:moveTo>
                <a:lnTo>
                  <a:pt x="1514163" y="2918854"/>
                </a:lnTo>
                <a:lnTo>
                  <a:pt x="3141813" y="2918854"/>
                </a:lnTo>
                <a:cubicBezTo>
                  <a:pt x="4117526" y="2918854"/>
                  <a:pt x="4300976" y="2462344"/>
                  <a:pt x="4300976" y="2074657"/>
                </a:cubicBezTo>
                <a:cubicBezTo>
                  <a:pt x="4300976" y="1664111"/>
                  <a:pt x="4089550" y="1272648"/>
                  <a:pt x="3141813" y="1272648"/>
                </a:cubicBezTo>
                <a:close/>
                <a:moveTo>
                  <a:pt x="0" y="0"/>
                </a:moveTo>
                <a:lnTo>
                  <a:pt x="3371063" y="0"/>
                </a:lnTo>
                <a:cubicBezTo>
                  <a:pt x="5093320" y="0"/>
                  <a:pt x="5764098" y="808058"/>
                  <a:pt x="5764098" y="1914880"/>
                </a:cubicBezTo>
                <a:cubicBezTo>
                  <a:pt x="5764098" y="2958727"/>
                  <a:pt x="5303162" y="3570018"/>
                  <a:pt x="4473298" y="3946539"/>
                </a:cubicBezTo>
                <a:cubicBezTo>
                  <a:pt x="4473298" y="3946539"/>
                  <a:pt x="4340686" y="3999770"/>
                  <a:pt x="4067868" y="4051622"/>
                </a:cubicBezTo>
                <a:lnTo>
                  <a:pt x="6096000" y="6743454"/>
                </a:lnTo>
                <a:lnTo>
                  <a:pt x="6096000" y="6856412"/>
                </a:lnTo>
                <a:lnTo>
                  <a:pt x="4434202" y="6856412"/>
                </a:lnTo>
                <a:lnTo>
                  <a:pt x="2428564" y="4203318"/>
                </a:lnTo>
                <a:lnTo>
                  <a:pt x="1514081" y="4203318"/>
                </a:lnTo>
                <a:lnTo>
                  <a:pt x="1514163" y="6856412"/>
                </a:lnTo>
                <a:lnTo>
                  <a:pt x="0" y="685641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ED46054-2F2F-486D-8E76-7CFB315D34E1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 rtl="0"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 rtl="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 rtl="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132825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ppendi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C422FD-F8A6-468E-BE3F-631D75B0D1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1857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C422FD-F8A6-468E-BE3F-631D75B0D1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3B76641-2E82-4B63-93DA-5A86BD6B72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01EA128-4E92-46A3-B8EE-474F087E3FF2}"/>
              </a:ext>
            </a:extLst>
          </p:cNvPr>
          <p:cNvSpPr/>
          <p:nvPr userDrawn="1"/>
        </p:nvSpPr>
        <p:spPr bwMode="gray">
          <a:xfrm>
            <a:off x="11064552" y="6536518"/>
            <a:ext cx="828092" cy="2520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 vert="horz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For further reading.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9CAB22E-EAD9-4ABF-B95C-BC9F35E8C46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2"/>
            <a:ext cx="6096000" cy="6857917"/>
          </a:xfrm>
          <a:custGeom>
            <a:avLst/>
            <a:gdLst>
              <a:gd name="connsiteX0" fmla="*/ 4601190 w 6096000"/>
              <a:gd name="connsiteY0" fmla="*/ 0 h 6857917"/>
              <a:gd name="connsiteX1" fmla="*/ 6096000 w 6096000"/>
              <a:gd name="connsiteY1" fmla="*/ 0 h 6857917"/>
              <a:gd name="connsiteX2" fmla="*/ 6096000 w 6096000"/>
              <a:gd name="connsiteY2" fmla="*/ 6857917 h 6857917"/>
              <a:gd name="connsiteX3" fmla="*/ 4618948 w 6096000"/>
              <a:gd name="connsiteY3" fmla="*/ 6857917 h 6857917"/>
              <a:gd name="connsiteX4" fmla="*/ 1584185 w 6096000"/>
              <a:gd name="connsiteY4" fmla="*/ 2803325 h 6857917"/>
              <a:gd name="connsiteX5" fmla="*/ 1580380 w 6096000"/>
              <a:gd name="connsiteY5" fmla="*/ 6857917 h 6857917"/>
              <a:gd name="connsiteX6" fmla="*/ 4651 w 6096000"/>
              <a:gd name="connsiteY6" fmla="*/ 6857917 h 6857917"/>
              <a:gd name="connsiteX7" fmla="*/ 0 w 6096000"/>
              <a:gd name="connsiteY7" fmla="*/ 2368 h 6857917"/>
              <a:gd name="connsiteX8" fmla="*/ 1551883 w 6096000"/>
              <a:gd name="connsiteY8" fmla="*/ 2368 h 6857917"/>
              <a:gd name="connsiteX9" fmla="*/ 4601190 w 6096000"/>
              <a:gd name="connsiteY9" fmla="*/ 4070490 h 6857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7917">
                <a:moveTo>
                  <a:pt x="4601190" y="0"/>
                </a:moveTo>
                <a:lnTo>
                  <a:pt x="6096000" y="0"/>
                </a:lnTo>
                <a:lnTo>
                  <a:pt x="6096000" y="6857917"/>
                </a:lnTo>
                <a:lnTo>
                  <a:pt x="4618948" y="6857917"/>
                </a:lnTo>
                <a:lnTo>
                  <a:pt x="1584185" y="2803325"/>
                </a:lnTo>
                <a:lnTo>
                  <a:pt x="1580380" y="6857917"/>
                </a:lnTo>
                <a:lnTo>
                  <a:pt x="4651" y="6857917"/>
                </a:lnTo>
                <a:lnTo>
                  <a:pt x="0" y="2368"/>
                </a:lnTo>
                <a:lnTo>
                  <a:pt x="1551883" y="2368"/>
                </a:lnTo>
                <a:lnTo>
                  <a:pt x="4601190" y="407049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3D351D1-FFB6-4227-9ADC-05525A9B855E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 rtl="0"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 rtl="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 rtl="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67721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EEABB1D-5729-4FF6-A1AB-FD75DBA81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7992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1" imgH="340" progId="TCLayout.ActiveDocument.1">
                  <p:embed/>
                </p:oleObj>
              </mc:Choice>
              <mc:Fallback>
                <p:oleObj name="think-cell Slide" r:id="rId3" imgW="341" imgH="34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EEABB1D-5729-4FF6-A1AB-FD75DBA81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1000"/>
            <a:ext cx="5334000" cy="2670175"/>
          </a:xfrm>
        </p:spPr>
        <p:txBody>
          <a:bodyPr vert="horz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en-GB" sz="3800" b="1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en-US" b="1">
                <a:effectLst/>
                <a:latin typeface="Arial" panose="020B0604020202020204" pitchFamily="34" charset="0"/>
              </a:rPr>
              <a:t>Add an optional sub-chapter that supports the narrative</a:t>
            </a:r>
            <a:endParaRPr lang="en-US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50083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0A417C-30F1-45E3-B44C-C8C67D9B56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4389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1" imgH="340" progId="TCLayout.ActiveDocument.1">
                  <p:embed/>
                </p:oleObj>
              </mc:Choice>
              <mc:Fallback>
                <p:oleObj name="think-cell Slide" r:id="rId3" imgW="341" imgH="34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0A417C-30F1-45E3-B44C-C8C67D9B56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1AE1E5AF-43EF-49CD-A70B-FBA2BCAA3F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2286000" cy="2215991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13186220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955D021-673D-4ED2-AE7B-C925BF78B7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8850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1" imgH="340" progId="TCLayout.ActiveDocument.1">
                  <p:embed/>
                </p:oleObj>
              </mc:Choice>
              <mc:Fallback>
                <p:oleObj name="think-cell Slide" r:id="rId3" imgW="341" imgH="34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955D021-673D-4ED2-AE7B-C925BF78B7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1000"/>
            <a:ext cx="5334000" cy="830997"/>
          </a:xfrm>
        </p:spPr>
        <p:txBody>
          <a:bodyPr vert="horz" wrap="square" lIns="0" tIns="0" rIns="0" bIns="0" anchorCtr="0">
            <a:spAutoFit/>
          </a:bodyPr>
          <a:lstStyle>
            <a:lvl1pPr rtl="0"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15307198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6129AF1-FF09-4D0F-BE8A-0D2022F04D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7236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1" imgH="340" progId="TCLayout.ActiveDocument.1">
                  <p:embed/>
                </p:oleObj>
              </mc:Choice>
              <mc:Fallback>
                <p:oleObj name="think-cell Slide" r:id="rId3" imgW="341" imgH="34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6129AF1-FF09-4D0F-BE8A-0D2022F04D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54C3A91-5A88-6F49-B31C-7C3C6EB2A6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9000" y="381000"/>
            <a:ext cx="3810000" cy="374650"/>
          </a:xfrm>
        </p:spPr>
        <p:txBody>
          <a:bodyPr/>
          <a:lstStyle>
            <a:lvl1pPr marL="0" indent="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spcAft>
                <a:spcPts val="0"/>
              </a:spcAft>
              <a:buNone/>
              <a:defRPr sz="14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  <a:p>
            <a:pPr lvl="1"/>
            <a:r>
              <a:rPr lang="en-US"/>
              <a:t>Sub-heading: Add supporting detail.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5A75C044-EF0B-6A4F-907C-515927B913F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04212" y="381000"/>
            <a:ext cx="3813048" cy="374650"/>
          </a:xfrm>
        </p:spPr>
        <p:txBody>
          <a:bodyPr/>
          <a:lstStyle>
            <a:lvl1pPr marL="0" indent="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spcAft>
                <a:spcPts val="0"/>
              </a:spcAft>
              <a:buNone/>
              <a:defRPr sz="14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  <a:p>
            <a:pPr lvl="1"/>
            <a:r>
              <a:rPr lang="en-US"/>
              <a:t>Sub-heading: Add supporting detail.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25C4D7CF-6868-C642-B298-65F96507D5DD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429000" y="1143000"/>
            <a:ext cx="3810000" cy="4949825"/>
          </a:xfrm>
        </p:spPr>
        <p:txBody>
          <a:bodyPr tIns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This is where you make your case with relevant evidence and information. Keep sentences concise. Avoid jargon and repetition.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2878B453-1C2F-7042-9F43-39BF515D313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004212" y="1143000"/>
            <a:ext cx="3813048" cy="4949825"/>
          </a:xfrm>
        </p:spPr>
        <p:txBody>
          <a:bodyPr tIns="0"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en-US" noProof="0"/>
              <a:t>This is where you make your case with relevant evidence and information. Keep sentences concise. Avoid jargon and repetition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B0940F-7986-44EB-815A-44B573162D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2286000" cy="2215991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20391812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5C8968B-3863-41E2-87D9-46AB0E4B4A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7753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1" imgH="340" progId="TCLayout.ActiveDocument.1">
                  <p:embed/>
                </p:oleObj>
              </mc:Choice>
              <mc:Fallback>
                <p:oleObj name="think-cell Slide" r:id="rId3" imgW="341" imgH="34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5C8968B-3863-41E2-87D9-46AB0E4B4A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43525" cy="830997"/>
          </a:xfrm>
        </p:spPr>
        <p:txBody>
          <a:bodyPr vert="horz" wrap="square" lIns="0" tIns="0" rIns="0" bIns="0" anchorCtr="0">
            <a:spAutoFit/>
          </a:bodyPr>
          <a:lstStyle>
            <a:lvl1pPr rtl="0"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4FEF0F-449D-494E-B003-BA0DE42F61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1001" y="1905000"/>
            <a:ext cx="5334000" cy="418782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DA243C-D223-024A-A211-1CD96C9037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76999" y="1905000"/>
            <a:ext cx="5334001" cy="418782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19265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A7B7DFC-85CB-4CE7-99A0-14681BC09F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6384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1" imgH="340" progId="TCLayout.ActiveDocument.1">
                  <p:embed/>
                </p:oleObj>
              </mc:Choice>
              <mc:Fallback>
                <p:oleObj name="think-cell Slide" r:id="rId3" imgW="341" imgH="34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A7B7DFC-85CB-4CE7-99A0-14681BC09F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>
          <a:xfrm>
            <a:off x="2867430" y="-1587"/>
            <a:ext cx="322857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3054350" cy="1661993"/>
          </a:xfrm>
        </p:spPr>
        <p:txBody>
          <a:bodyPr vert="horz" wrap="square" lIns="0" tIns="0" rIns="0" bIns="0" anchorCtr="0">
            <a:noAutofit/>
          </a:bodyPr>
          <a:lstStyle>
            <a:lvl1pPr rtl="0"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D9B22EF-051C-6641-8F7F-89A2A4B7EB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1001" y="2674577"/>
            <a:ext cx="5334000" cy="387798"/>
          </a:xfrm>
        </p:spPr>
        <p:txBody>
          <a:bodyPr wrap="square" lIns="0" tIns="0" rIns="0" bIns="0" anchorCtr="0">
            <a:spAutoFit/>
          </a:bodyPr>
          <a:lstStyle>
            <a:lvl1pPr marL="0" indent="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spcAft>
                <a:spcPts val="0"/>
              </a:spcAft>
              <a:buNone/>
              <a:defRPr sz="14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  <a:p>
            <a:pPr lvl="1"/>
            <a:r>
              <a:rPr lang="en-US"/>
              <a:t>Sub-heading: Add supporting detail.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399D3F24-168F-0048-B757-0FF955AB95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6999" y="2674577"/>
            <a:ext cx="5330825" cy="387798"/>
          </a:xfrm>
        </p:spPr>
        <p:txBody>
          <a:bodyPr wrap="square" lIns="0" tIns="0" rIns="0" bIns="0" anchorCtr="0">
            <a:spAutoFit/>
          </a:bodyPr>
          <a:lstStyle>
            <a:lvl1pPr marL="0" indent="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spcAft>
                <a:spcPts val="0"/>
              </a:spcAft>
              <a:buNone/>
              <a:defRPr sz="14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  <a:p>
            <a:pPr lvl="1"/>
            <a:r>
              <a:rPr lang="en-US"/>
              <a:t>Sub-heading: Add supporting detail.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03E6240C-8A72-5E4B-AB37-5294174930C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0" y="381000"/>
            <a:ext cx="1896127" cy="190023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sp>
        <p:nvSpPr>
          <p:cNvPr id="24" name="Picture Placeholder 21">
            <a:extLst>
              <a:ext uri="{FF2B5EF4-FFF2-40B4-BE49-F238E27FC236}">
                <a16:creationId xmlns:a16="http://schemas.microsoft.com/office/drawing/2014/main" id="{98274983-141A-0E4E-9962-52D8DCCA7EF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901237" y="381000"/>
            <a:ext cx="1906587" cy="190023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B95D0E9-C4E7-4A4E-8FC1-1B47E3F4358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81000" y="3429000"/>
            <a:ext cx="5334000" cy="2666999"/>
          </a:xfrm>
        </p:spPr>
        <p:txBody>
          <a:bodyPr tIns="0"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16">
            <a:extLst>
              <a:ext uri="{FF2B5EF4-FFF2-40B4-BE49-F238E27FC236}">
                <a16:creationId xmlns:a16="http://schemas.microsoft.com/office/drawing/2014/main" id="{D15AF06C-0067-9540-9FEA-E269C3D5CFD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476999" y="3429000"/>
            <a:ext cx="5330825" cy="2666999"/>
          </a:xfrm>
        </p:spPr>
        <p:txBody>
          <a:bodyPr tIns="0"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520193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C1714D3-2116-4002-8D8E-45E0F3A34A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6448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1" imgH="340" progId="TCLayout.ActiveDocument.1">
                  <p:embed/>
                </p:oleObj>
              </mc:Choice>
              <mc:Fallback>
                <p:oleObj name="think-cell Slide" r:id="rId3" imgW="341" imgH="34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C1714D3-2116-4002-8D8E-45E0F3A34A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>
          <a:xfrm>
            <a:off x="2867430" y="-1587"/>
            <a:ext cx="322857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1000"/>
            <a:ext cx="5334000" cy="830997"/>
          </a:xfrm>
        </p:spPr>
        <p:txBody>
          <a:bodyPr vert="horz" wrap="square" lIns="0" tIns="0" rIns="0" bIns="0" anchorCtr="0">
            <a:noAutofit/>
          </a:bodyPr>
          <a:lstStyle>
            <a:lvl1pPr rtl="0"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DA243C-D223-024A-A211-1CD96C9037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77000" y="1143000"/>
            <a:ext cx="5334000" cy="4949825"/>
          </a:xfrm>
        </p:spPr>
        <p:txBody>
          <a:bodyPr tIns="0"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BD9B22EF-051C-6641-8F7F-89A2A4B7EB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1001" y="2286000"/>
            <a:ext cx="5334000" cy="379539"/>
          </a:xfrm>
        </p:spPr>
        <p:txBody>
          <a:bodyPr/>
          <a:lstStyle>
            <a:lvl1pPr marL="0" indent="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spcAft>
                <a:spcPts val="0"/>
              </a:spcAft>
              <a:buNone/>
              <a:defRPr sz="14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  <a:p>
            <a:pPr lvl="1"/>
            <a:r>
              <a:rPr lang="en-US"/>
              <a:t>Sub-heading: Add supporting detail.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399D3F24-168F-0048-B757-0FF955AB95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6999" y="381000"/>
            <a:ext cx="5334001" cy="374650"/>
          </a:xfrm>
        </p:spPr>
        <p:txBody>
          <a:bodyPr/>
          <a:lstStyle>
            <a:lvl1pPr marL="0" indent="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spcAft>
                <a:spcPts val="0"/>
              </a:spcAft>
              <a:buNone/>
              <a:defRPr sz="14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  <a:p>
            <a:pPr lvl="1"/>
            <a:r>
              <a:rPr lang="en-US"/>
              <a:t>Sub-heading: Add supporting detail.</a:t>
            </a:r>
          </a:p>
        </p:txBody>
      </p:sp>
      <p:sp>
        <p:nvSpPr>
          <p:cNvPr id="30" name="Text Placeholder 16">
            <a:extLst>
              <a:ext uri="{FF2B5EF4-FFF2-40B4-BE49-F238E27FC236}">
                <a16:creationId xmlns:a16="http://schemas.microsoft.com/office/drawing/2014/main" id="{E26E4537-E8EA-A44C-81E4-2AA24ECCA08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81001" y="3048000"/>
            <a:ext cx="2286000" cy="3044825"/>
          </a:xfrm>
        </p:spPr>
        <p:txBody>
          <a:bodyPr tIns="0"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F9A2B3B9-BB65-4C08-B029-229E91D03C9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429000" y="3048000"/>
            <a:ext cx="2286000" cy="3044825"/>
          </a:xfrm>
        </p:spPr>
        <p:txBody>
          <a:bodyPr tIns="0"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115406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1000"/>
            <a:ext cx="5334000" cy="267017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 lang="en-GB" sz="3800" b="1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en-GB" b="1">
                <a:effectLst/>
                <a:latin typeface="Arial" panose="020B0604020202020204" pitchFamily="34" charset="0"/>
              </a:rPr>
              <a:t>Add an optional sub-chapter that supports the narrative</a:t>
            </a:r>
            <a:endParaRPr lang="en-GB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224147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lleng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BCC2DA1-5983-45A3-98F9-554160DEED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4757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1" imgH="340" progId="TCLayout.ActiveDocument.1">
                  <p:embed/>
                </p:oleObj>
              </mc:Choice>
              <mc:Fallback>
                <p:oleObj name="think-cell Slide" r:id="rId3" imgW="341" imgH="34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BCC2DA1-5983-45A3-98F9-554160DEED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F5897343-393D-0E44-A97B-2079B348B1F9}"/>
              </a:ext>
            </a:extLst>
          </p:cNvPr>
          <p:cNvSpPr/>
          <p:nvPr userDrawn="1"/>
        </p:nvSpPr>
        <p:spPr>
          <a:xfrm>
            <a:off x="3044825" y="0"/>
            <a:ext cx="4575175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631238-F440-4B1F-8D7B-809C61CB62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2286000" cy="2215991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D95ABA3D-BEC2-4D38-9AFA-4954F306F2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04175" y="381000"/>
            <a:ext cx="3806826" cy="370199"/>
          </a:xfrm>
        </p:spPr>
        <p:txBody>
          <a:bodyPr/>
          <a:lstStyle>
            <a:lvl1pPr marL="0" indent="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D8852F4-3A40-41CF-8793-5F648FBC7E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29000" y="381000"/>
            <a:ext cx="3810000" cy="370199"/>
          </a:xfrm>
        </p:spPr>
        <p:txBody>
          <a:bodyPr/>
          <a:lstStyle>
            <a:lvl1pPr marL="0" indent="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</p:spTree>
    <p:extLst>
      <p:ext uri="{BB962C8B-B14F-4D97-AF65-F5344CB8AC3E}">
        <p14:creationId xmlns:p14="http://schemas.microsoft.com/office/powerpoint/2010/main" val="8797676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BB9503A-A5E6-4483-9E01-A00909546E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5704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1" imgH="340" progId="TCLayout.ActiveDocument.1">
                  <p:embed/>
                </p:oleObj>
              </mc:Choice>
              <mc:Fallback>
                <p:oleObj name="think-cell Slide" r:id="rId3" imgW="341" imgH="34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BB9503A-A5E6-4483-9E01-A00909546E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>
            <a:extLst>
              <a:ext uri="{FF2B5EF4-FFF2-40B4-BE49-F238E27FC236}">
                <a16:creationId xmlns:a16="http://schemas.microsoft.com/office/drawing/2014/main" id="{CD7508A2-A0AF-4811-ACA1-FC84D131531A}"/>
              </a:ext>
            </a:extLst>
          </p:cNvPr>
          <p:cNvSpPr/>
          <p:nvPr userDrawn="1"/>
        </p:nvSpPr>
        <p:spPr>
          <a:xfrm>
            <a:off x="-7168" y="3429000"/>
            <a:ext cx="6101581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AA1EFBD-66C8-4081-AADF-2B4A352FE64D}"/>
              </a:ext>
            </a:extLst>
          </p:cNvPr>
          <p:cNvSpPr/>
          <p:nvPr userDrawn="1"/>
        </p:nvSpPr>
        <p:spPr>
          <a:xfrm>
            <a:off x="0" y="-1587"/>
            <a:ext cx="6096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Picture Placeholder 21">
            <a:extLst>
              <a:ext uri="{FF2B5EF4-FFF2-40B4-BE49-F238E27FC236}">
                <a16:creationId xmlns:a16="http://schemas.microsoft.com/office/drawing/2014/main" id="{3448625E-017A-4951-9ED5-25641345A0F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044825" y="-1587"/>
            <a:ext cx="3051175" cy="34305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3F9026C0-8F42-4CC3-A918-0320C9FEE43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7001" y="381000"/>
            <a:ext cx="5334000" cy="374648"/>
          </a:xfrm>
        </p:spPr>
        <p:txBody>
          <a:bodyPr wrap="square" lIns="0" tIns="0" rIns="0" bIns="0" anchorCtr="0">
            <a:noAutofit/>
          </a:bodyPr>
          <a:lstStyle>
            <a:lvl1pPr marL="0" indent="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Selected consulting engagement experience (X years)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D364477-0314-4F10-9D10-E2EF9653C5E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80999" y="3638446"/>
            <a:ext cx="2667001" cy="193899"/>
          </a:xfrm>
        </p:spPr>
        <p:txBody>
          <a:bodyPr wrap="square" lIns="0" tIns="0" rIns="0" bIns="0" anchorCtr="0">
            <a:spAutoFit/>
          </a:bodyPr>
          <a:lstStyle>
            <a:lvl1pPr marL="0" indent="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reas of Expertis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F7FD24E3-E069-4B35-9C18-F463735BC89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428999" y="3638446"/>
            <a:ext cx="2286001" cy="193899"/>
          </a:xfrm>
        </p:spPr>
        <p:txBody>
          <a:bodyPr wrap="square" lIns="0" tIns="0" rIns="0" bIns="0" anchorCtr="0">
            <a:spAutoFit/>
          </a:bodyPr>
          <a:lstStyle>
            <a:lvl1pPr marL="0" indent="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Educ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3B904A-F76F-4A89-9C9D-B0B0D1D3C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2286000" cy="2215991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Surname Name</a:t>
            </a:r>
            <a:br>
              <a:rPr lang="en-US"/>
            </a:br>
            <a:r>
              <a:rPr lang="en-US" b="0"/>
              <a:t>Position, Office, Country</a:t>
            </a:r>
            <a:endParaRPr lang="en-US"/>
          </a:p>
        </p:txBody>
      </p:sp>
      <p:grpSp>
        <p:nvGrpSpPr>
          <p:cNvPr id="35" name="Graphic 19">
            <a:extLst>
              <a:ext uri="{FF2B5EF4-FFF2-40B4-BE49-F238E27FC236}">
                <a16:creationId xmlns:a16="http://schemas.microsoft.com/office/drawing/2014/main" id="{0DF2BC8F-BD6E-4BED-A9DD-8DCAEA9A50D4}"/>
              </a:ext>
            </a:extLst>
          </p:cNvPr>
          <p:cNvGrpSpPr/>
          <p:nvPr userDrawn="1"/>
        </p:nvGrpSpPr>
        <p:grpSpPr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36" name="Freeform 21">
              <a:extLst>
                <a:ext uri="{FF2B5EF4-FFF2-40B4-BE49-F238E27FC236}">
                  <a16:creationId xmlns:a16="http://schemas.microsoft.com/office/drawing/2014/main" id="{AC1D5788-EC41-4A64-9CD3-6E3CB88E41EC}"/>
                </a:ext>
              </a:extLst>
            </p:cNvPr>
            <p:cNvSpPr/>
            <p:nvPr/>
          </p:nvSpPr>
          <p:spPr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22">
              <a:extLst>
                <a:ext uri="{FF2B5EF4-FFF2-40B4-BE49-F238E27FC236}">
                  <a16:creationId xmlns:a16="http://schemas.microsoft.com/office/drawing/2014/main" id="{009902B4-2695-4527-B5C8-31F48F2A9654}"/>
                </a:ext>
              </a:extLst>
            </p:cNvPr>
            <p:cNvSpPr/>
            <p:nvPr/>
          </p:nvSpPr>
          <p:spPr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Freeform 23">
              <a:extLst>
                <a:ext uri="{FF2B5EF4-FFF2-40B4-BE49-F238E27FC236}">
                  <a16:creationId xmlns:a16="http://schemas.microsoft.com/office/drawing/2014/main" id="{D3AD1063-D2B8-4B6A-A86D-08AD8E37AAD7}"/>
                </a:ext>
              </a:extLst>
            </p:cNvPr>
            <p:cNvSpPr/>
            <p:nvPr/>
          </p:nvSpPr>
          <p:spPr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24">
              <a:extLst>
                <a:ext uri="{FF2B5EF4-FFF2-40B4-BE49-F238E27FC236}">
                  <a16:creationId xmlns:a16="http://schemas.microsoft.com/office/drawing/2014/main" id="{27E78175-02A9-436A-96A2-9F5365F56578}"/>
                </a:ext>
              </a:extLst>
            </p:cNvPr>
            <p:cNvSpPr/>
            <p:nvPr/>
          </p:nvSpPr>
          <p:spPr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25">
              <a:extLst>
                <a:ext uri="{FF2B5EF4-FFF2-40B4-BE49-F238E27FC236}">
                  <a16:creationId xmlns:a16="http://schemas.microsoft.com/office/drawing/2014/main" id="{17E9070A-F511-4A5B-9153-39FEE2463F81}"/>
                </a:ext>
              </a:extLst>
            </p:cNvPr>
            <p:cNvSpPr/>
            <p:nvPr/>
          </p:nvSpPr>
          <p:spPr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241166F2-3E56-4401-B77D-EB0307B39A0C}"/>
                </a:ext>
              </a:extLst>
            </p:cNvPr>
            <p:cNvSpPr/>
            <p:nvPr/>
          </p:nvSpPr>
          <p:spPr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5F257939-AA22-4BDE-B164-A41F0FA3F5A1}"/>
                </a:ext>
              </a:extLst>
            </p:cNvPr>
            <p:cNvSpPr/>
            <p:nvPr/>
          </p:nvSpPr>
          <p:spPr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BEAE6D84-B6DD-4EDD-AF9D-0557698E1334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80999" y="4014091"/>
            <a:ext cx="2666746" cy="2074529"/>
          </a:xfrm>
        </p:spPr>
        <p:txBody>
          <a:bodyPr/>
          <a:lstStyle>
            <a:lvl1pPr marL="171450" indent="-171450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1pPr>
            <a:lvl2pPr marL="357188" indent="-179388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2pPr>
            <a:lvl3pPr marL="538163" indent="-179388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tabLst/>
              <a:defRPr/>
            </a:lvl3pPr>
            <a:lvl4pPr marL="3600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Content Placeholder 4">
            <a:extLst>
              <a:ext uri="{FF2B5EF4-FFF2-40B4-BE49-F238E27FC236}">
                <a16:creationId xmlns:a16="http://schemas.microsoft.com/office/drawing/2014/main" id="{5F7F1EA4-C814-480F-B003-45406D81DE96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3427396" y="4014091"/>
            <a:ext cx="2285783" cy="2074529"/>
          </a:xfrm>
        </p:spPr>
        <p:txBody>
          <a:bodyPr/>
          <a:lstStyle>
            <a:lvl1pPr marL="171450" indent="-171450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1pPr>
            <a:lvl2pPr marL="357188" indent="-179388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2pPr>
            <a:lvl3pPr marL="538163" indent="-179388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tabLst/>
              <a:defRPr/>
            </a:lvl3pPr>
            <a:lvl4pPr marL="3600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Content Placeholder 4">
            <a:extLst>
              <a:ext uri="{FF2B5EF4-FFF2-40B4-BE49-F238E27FC236}">
                <a16:creationId xmlns:a16="http://schemas.microsoft.com/office/drawing/2014/main" id="{456734BC-EC09-4012-BD47-6165A89575FC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6477000" y="1143000"/>
            <a:ext cx="2286000" cy="4945620"/>
          </a:xfrm>
        </p:spPr>
        <p:txBody>
          <a:bodyPr/>
          <a:lstStyle>
            <a:lvl1pPr marL="171450" indent="-171450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1pPr>
            <a:lvl2pPr marL="357188" indent="-179388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2pPr>
            <a:lvl3pPr marL="538163" indent="-179388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tabLst/>
              <a:defRPr/>
            </a:lvl3pPr>
            <a:lvl4pPr marL="3600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8" name="Content Placeholder 4">
            <a:extLst>
              <a:ext uri="{FF2B5EF4-FFF2-40B4-BE49-F238E27FC236}">
                <a16:creationId xmlns:a16="http://schemas.microsoft.com/office/drawing/2014/main" id="{E1879581-F0A3-47CC-B8BA-91D70E6D12AD}"/>
              </a:ext>
            </a:extLst>
          </p:cNvPr>
          <p:cNvSpPr>
            <a:spLocks noGrp="1"/>
          </p:cNvSpPr>
          <p:nvPr>
            <p:ph sz="quarter" idx="42"/>
          </p:nvPr>
        </p:nvSpPr>
        <p:spPr>
          <a:xfrm>
            <a:off x="9525000" y="1143000"/>
            <a:ext cx="2286000" cy="4945620"/>
          </a:xfrm>
        </p:spPr>
        <p:txBody>
          <a:bodyPr/>
          <a:lstStyle>
            <a:lvl1pPr marL="171450" indent="-171450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1pPr>
            <a:lvl2pPr marL="357188" indent="-179388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lvl2pPr>
            <a:lvl3pPr marL="538163" indent="-179388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tabLst/>
              <a:defRPr/>
            </a:lvl3pPr>
            <a:lvl4pPr marL="3600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3D7114F-F639-4ADE-A59A-1DE07A41E53F}"/>
              </a:ext>
            </a:extLst>
          </p:cNvPr>
          <p:cNvSpPr txBox="1"/>
          <p:nvPr userDrawn="1"/>
        </p:nvSpPr>
        <p:spPr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 rtl="0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 rtl="0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81273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14F1527-408F-4A88-B525-9122BD4DD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4135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1" imgH="340" progId="TCLayout.ActiveDocument.1">
                  <p:embed/>
                </p:oleObj>
              </mc:Choice>
              <mc:Fallback>
                <p:oleObj name="think-cell Slide" r:id="rId3" imgW="341" imgH="34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14F1527-408F-4A88-B525-9122BD4DD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7F5CAB5-F976-4C40-89AE-9A89E9C4AC4F}"/>
              </a:ext>
            </a:extLst>
          </p:cNvPr>
          <p:cNvSpPr/>
          <p:nvPr userDrawn="1"/>
        </p:nvSpPr>
        <p:spPr>
          <a:xfrm>
            <a:off x="3048002" y="0"/>
            <a:ext cx="304799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3B78D11-144A-4B42-AA51-7E5FE4BFDAC3}"/>
              </a:ext>
            </a:extLst>
          </p:cNvPr>
          <p:cNvSpPr/>
          <p:nvPr userDrawn="1"/>
        </p:nvSpPr>
        <p:spPr>
          <a:xfrm>
            <a:off x="6096000" y="0"/>
            <a:ext cx="3048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CF47EE3-F5CB-4E44-BC68-EC24C6779C1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048000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 rtl="0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796EB4AD-659A-9A47-B141-976732FEBC0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96000" y="0"/>
            <a:ext cx="3048000" cy="2663825"/>
          </a:xfrm>
          <a:solidFill>
            <a:schemeClr val="bg2"/>
          </a:solidFill>
        </p:spPr>
        <p:txBody>
          <a:bodyPr anchor="ctr"/>
          <a:lstStyle>
            <a:lvl1pPr algn="ctr" rtl="0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19">
            <a:extLst>
              <a:ext uri="{FF2B5EF4-FFF2-40B4-BE49-F238E27FC236}">
                <a16:creationId xmlns:a16="http://schemas.microsoft.com/office/drawing/2014/main" id="{8DFD1BD5-98E0-0947-9140-940DFF97013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147359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 rtl="0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4CBE62D-52E2-4C4C-AF6E-96D1E5707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9001" y="3048000"/>
            <a:ext cx="2285999" cy="3048000"/>
          </a:xfrm>
        </p:spPr>
        <p:txBody>
          <a:bodyPr/>
          <a:lstStyle>
            <a:lvl1pPr marL="0" indent="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 rtl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 rtl="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 rtl="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Fourth level bullet</a:t>
            </a:r>
          </a:p>
          <a:p>
            <a:pPr lvl="4"/>
            <a:r>
              <a:rPr lang="en-US"/>
              <a:t>Fifth level bullet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1C3C4FE2-D60A-3C44-A1A2-F63809BB1E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77001" y="3048000"/>
            <a:ext cx="2286000" cy="3048000"/>
          </a:xfrm>
        </p:spPr>
        <p:txBody>
          <a:bodyPr/>
          <a:lstStyle>
            <a:lvl1pPr marL="0" indent="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 rtl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 rtl="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 rtl="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Fourth level bullet</a:t>
            </a:r>
          </a:p>
          <a:p>
            <a:pPr lvl="4"/>
            <a:r>
              <a:rPr lang="en-US"/>
              <a:t>Fifth level bullet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39E6F826-10D9-8247-8889-29223C7F84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0" y="3048000"/>
            <a:ext cx="2289360" cy="3048000"/>
          </a:xfrm>
        </p:spPr>
        <p:txBody>
          <a:bodyPr/>
          <a:lstStyle>
            <a:lvl1pPr marL="0" indent="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 rtl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 rtl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 rtl="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 rtl="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Fourth level bullet</a:t>
            </a:r>
          </a:p>
          <a:p>
            <a:pPr lvl="4"/>
            <a:r>
              <a:rPr lang="en-US"/>
              <a:t>Fifth level bulle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468541-A21A-46F7-AFC4-CBC98C325E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2285999" cy="2215991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25166437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CCC11E5-7CCF-4C1D-A78F-8523505D44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3395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1" imgH="340" progId="TCLayout.ActiveDocument.1">
                  <p:embed/>
                </p:oleObj>
              </mc:Choice>
              <mc:Fallback>
                <p:oleObj name="think-cell Slide" r:id="rId3" imgW="341" imgH="34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CCC11E5-7CCF-4C1D-A78F-8523505D44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66F4BDBA-8A7A-4151-9891-CE2FF8030BCB}"/>
              </a:ext>
            </a:extLst>
          </p:cNvPr>
          <p:cNvSpPr/>
          <p:nvPr userDrawn="1"/>
        </p:nvSpPr>
        <p:spPr>
          <a:xfrm>
            <a:off x="3048000" y="0"/>
            <a:ext cx="4572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A6D9F4-AFFE-40C2-A711-D5F9F9523EA2}"/>
              </a:ext>
            </a:extLst>
          </p:cNvPr>
          <p:cNvSpPr/>
          <p:nvPr userDrawn="1"/>
        </p:nvSpPr>
        <p:spPr>
          <a:xfrm>
            <a:off x="3048000" y="3429000"/>
            <a:ext cx="4572000" cy="3429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F887B0-D81F-4D6E-8490-01166A357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2F01B772-E707-4318-AFF4-D233B7291D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8973" y="381000"/>
            <a:ext cx="3810000" cy="357499"/>
          </a:xfrm>
        </p:spPr>
        <p:txBody>
          <a:bodyPr/>
          <a:lstStyle>
            <a:lvl1pPr marL="0" indent="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Situation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9F9E8AE9-DD63-4653-988B-3750118E13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73" y="3809999"/>
            <a:ext cx="3810000" cy="376971"/>
          </a:xfrm>
        </p:spPr>
        <p:txBody>
          <a:bodyPr/>
          <a:lstStyle>
            <a:lvl1pPr marL="0" indent="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pproach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7F035056-C297-4E3D-A5DA-D866119582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00999" y="3809999"/>
            <a:ext cx="3810001" cy="376971"/>
          </a:xfrm>
        </p:spPr>
        <p:txBody>
          <a:bodyPr/>
          <a:lstStyle>
            <a:lvl1pPr marL="0" indent="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Impact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FCA46901-ED40-41AA-95AD-ADE9E86C443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28973" y="4187825"/>
            <a:ext cx="3810026" cy="1277273"/>
          </a:xfrm>
        </p:spPr>
        <p:txBody>
          <a:bodyPr wrap="square" lIns="0" tIns="0" rIns="0" bIns="0" anchorCtr="0">
            <a:sp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FFC8F3DC-2FB3-4CA7-9006-B6A3370B9E0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00944" y="4186238"/>
            <a:ext cx="3809266" cy="1277273"/>
          </a:xfrm>
        </p:spPr>
        <p:txBody>
          <a:bodyPr wrap="square" lIns="0" tIns="0" rIns="0" bIns="0" anchorCtr="0">
            <a:spAutoFit/>
          </a:bodyPr>
          <a:lstStyle>
            <a:lvl1pPr rtl="0">
              <a:defRPr sz="1400">
                <a:solidFill>
                  <a:schemeClr val="tx2"/>
                </a:solidFill>
              </a:defRPr>
            </a:lvl1pPr>
            <a:lvl2pPr rtl="0">
              <a:defRPr sz="1400">
                <a:solidFill>
                  <a:schemeClr val="tx2"/>
                </a:solidFill>
              </a:defRPr>
            </a:lvl2pPr>
            <a:lvl3pPr rtl="0">
              <a:defRPr sz="1400">
                <a:solidFill>
                  <a:schemeClr val="tx2"/>
                </a:solidFill>
              </a:defRPr>
            </a:lvl3pPr>
            <a:lvl4pPr rtl="0">
              <a:defRPr sz="1400">
                <a:solidFill>
                  <a:schemeClr val="tx2"/>
                </a:solidFill>
              </a:defRPr>
            </a:lvl4pPr>
            <a:lvl5pPr rtl="0"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C88F3AC6-38BB-420F-928B-D3D9DAD55B7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28973" y="765175"/>
            <a:ext cx="3810001" cy="1277273"/>
          </a:xfrm>
        </p:spPr>
        <p:txBody>
          <a:bodyPr wrap="square" lIns="0" tIns="0" rIns="0" bIns="0" anchorCtr="0">
            <a:sp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Picture Placeholder 20">
            <a:extLst>
              <a:ext uri="{FF2B5EF4-FFF2-40B4-BE49-F238E27FC236}">
                <a16:creationId xmlns:a16="http://schemas.microsoft.com/office/drawing/2014/main" id="{B62EDA09-4F38-47EC-8087-3301CDABF2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620000" y="-1"/>
            <a:ext cx="4572000" cy="3429000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6969156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96CD57-C0DB-43A8-8C5C-A539549839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9203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96CD57-C0DB-43A8-8C5C-A53954983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2089A8CE-377D-4B70-A044-B5B63794CD49}"/>
              </a:ext>
            </a:extLst>
          </p:cNvPr>
          <p:cNvSpPr/>
          <p:nvPr userDrawn="1"/>
        </p:nvSpPr>
        <p:spPr>
          <a:xfrm>
            <a:off x="0" y="1524001"/>
            <a:ext cx="3179676" cy="5333999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>
          <a:xfrm>
            <a:off x="0" y="-1587"/>
            <a:ext cx="12192000" cy="1525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9" name="Graphic 19">
            <a:extLst>
              <a:ext uri="{FF2B5EF4-FFF2-40B4-BE49-F238E27FC236}">
                <a16:creationId xmlns:a16="http://schemas.microsoft.com/office/drawing/2014/main" id="{E2AD44DB-E4BE-48E0-8F62-15DBB756E093}"/>
              </a:ext>
            </a:extLst>
          </p:cNvPr>
          <p:cNvGrpSpPr/>
          <p:nvPr userDrawn="1"/>
        </p:nvGrpSpPr>
        <p:grpSpPr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20" name="Freeform 21">
              <a:extLst>
                <a:ext uri="{FF2B5EF4-FFF2-40B4-BE49-F238E27FC236}">
                  <a16:creationId xmlns:a16="http://schemas.microsoft.com/office/drawing/2014/main" id="{D9EDA8B2-D76D-463C-84C9-0185631E431D}"/>
                </a:ext>
              </a:extLst>
            </p:cNvPr>
            <p:cNvSpPr/>
            <p:nvPr/>
          </p:nvSpPr>
          <p:spPr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1" name="Freeform 22">
              <a:extLst>
                <a:ext uri="{FF2B5EF4-FFF2-40B4-BE49-F238E27FC236}">
                  <a16:creationId xmlns:a16="http://schemas.microsoft.com/office/drawing/2014/main" id="{089BEC8C-E8E0-466A-AB84-053758789BE8}"/>
                </a:ext>
              </a:extLst>
            </p:cNvPr>
            <p:cNvSpPr/>
            <p:nvPr/>
          </p:nvSpPr>
          <p:spPr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" name="Freeform 23">
              <a:extLst>
                <a:ext uri="{FF2B5EF4-FFF2-40B4-BE49-F238E27FC236}">
                  <a16:creationId xmlns:a16="http://schemas.microsoft.com/office/drawing/2014/main" id="{EF9B4F61-6118-4461-9202-2F3FEFDCA5EE}"/>
                </a:ext>
              </a:extLst>
            </p:cNvPr>
            <p:cNvSpPr/>
            <p:nvPr/>
          </p:nvSpPr>
          <p:spPr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" name="Freeform 24">
              <a:extLst>
                <a:ext uri="{FF2B5EF4-FFF2-40B4-BE49-F238E27FC236}">
                  <a16:creationId xmlns:a16="http://schemas.microsoft.com/office/drawing/2014/main" id="{3BFE760D-733B-4BE0-ABE9-B1AADF47863B}"/>
                </a:ext>
              </a:extLst>
            </p:cNvPr>
            <p:cNvSpPr/>
            <p:nvPr/>
          </p:nvSpPr>
          <p:spPr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" name="Freeform 25">
              <a:extLst>
                <a:ext uri="{FF2B5EF4-FFF2-40B4-BE49-F238E27FC236}">
                  <a16:creationId xmlns:a16="http://schemas.microsoft.com/office/drawing/2014/main" id="{A2BEDB90-47A9-4806-BB41-5778AD529E0D}"/>
                </a:ext>
              </a:extLst>
            </p:cNvPr>
            <p:cNvSpPr/>
            <p:nvPr/>
          </p:nvSpPr>
          <p:spPr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20BF7B9D-48F5-44B5-A629-838B97CB67EF}"/>
                </a:ext>
              </a:extLst>
            </p:cNvPr>
            <p:cNvSpPr/>
            <p:nvPr/>
          </p:nvSpPr>
          <p:spPr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BE4B057E-40BF-4DFD-8FB4-9417EA32342E}"/>
                </a:ext>
              </a:extLst>
            </p:cNvPr>
            <p:cNvSpPr/>
            <p:nvPr/>
          </p:nvSpPr>
          <p:spPr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60416A9F-C813-47A1-BC5C-9781DE143BBC}"/>
              </a:ext>
            </a:extLst>
          </p:cNvPr>
          <p:cNvSpPr txBox="1"/>
          <p:nvPr userDrawn="1"/>
        </p:nvSpPr>
        <p:spPr>
          <a:xfrm>
            <a:off x="381001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8C368-3382-4C28-AE75-DF7C05ACA19D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E1E1E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E4614CD-0A06-45AD-BFB3-52C98A151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1000"/>
            <a:ext cx="5334000" cy="830997"/>
          </a:xfrm>
        </p:spPr>
        <p:txBody>
          <a:bodyPr vert="horz" wrap="square" lIns="0" tIns="0" rIns="0" bIns="0" anchorCtr="0">
            <a:noAutofit/>
          </a:bodyPr>
          <a:lstStyle>
            <a:lvl1pPr rtl="0"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21113443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1EEFCF4-54C3-4948-A624-DF552233C1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1270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1" imgH="340" progId="TCLayout.ActiveDocument.1">
                  <p:embed/>
                </p:oleObj>
              </mc:Choice>
              <mc:Fallback>
                <p:oleObj name="think-cell Slide" r:id="rId3" imgW="341" imgH="34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1EEFCF4-54C3-4948-A624-DF552233C1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0245B73-A482-F64B-86B5-7D35749B6A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2286000" cy="385762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0A2A9C-BC2E-E84C-9D64-34631BC47D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143000"/>
            <a:ext cx="2667000" cy="992633"/>
          </a:xfrm>
        </p:spPr>
        <p:txBody>
          <a:bodyPr/>
          <a:lstStyle>
            <a:lvl1pPr marL="0" indent="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 rtl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E2D8C7B-E137-3948-86A5-8EF55583B6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29001" y="1143000"/>
            <a:ext cx="2666999" cy="992633"/>
          </a:xfrm>
        </p:spPr>
        <p:txBody>
          <a:bodyPr/>
          <a:lstStyle>
            <a:lvl1pPr marL="0" indent="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 rtl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E76C799-A2B3-8549-BF01-A5E85152A2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2283532"/>
            <a:ext cx="2667000" cy="992633"/>
          </a:xfrm>
        </p:spPr>
        <p:txBody>
          <a:bodyPr/>
          <a:lstStyle>
            <a:lvl1pPr marL="0" indent="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 rtl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EF35F24-23CB-894F-98A8-27315C4DB2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29001" y="2283532"/>
            <a:ext cx="2666999" cy="992633"/>
          </a:xfrm>
        </p:spPr>
        <p:txBody>
          <a:bodyPr/>
          <a:lstStyle>
            <a:lvl1pPr marL="0" indent="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 rtl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78BA69A-3076-2A40-8C16-4A197F6CC4C1}"/>
              </a:ext>
            </a:extLst>
          </p:cNvPr>
          <p:cNvSpPr/>
          <p:nvPr userDrawn="1"/>
        </p:nvSpPr>
        <p:spPr>
          <a:xfrm>
            <a:off x="381000" y="5589610"/>
            <a:ext cx="4490864" cy="503215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s document is exclusively intended for selected client employees. Distribution, quotations and duplications – even in the form of extracts – for third parties is only permitted upon prior written consent of Kearney. 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arney used the text and charts compiled in this report in a presentation; they do not represent a complete documentation of the presentation.</a:t>
            </a:r>
          </a:p>
        </p:txBody>
      </p:sp>
      <p:sp>
        <p:nvSpPr>
          <p:cNvPr id="22" name="Picture Placeholder 43">
            <a:extLst>
              <a:ext uri="{FF2B5EF4-FFF2-40B4-BE49-F238E27FC236}">
                <a16:creationId xmlns:a16="http://schemas.microsoft.com/office/drawing/2014/main" id="{763095BA-2E8C-A049-B6E6-B9E92AF228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1858328 w 6096000"/>
              <a:gd name="connsiteY1" fmla="*/ 0 h 6858000"/>
              <a:gd name="connsiteX2" fmla="*/ 3456432 w 6096000"/>
              <a:gd name="connsiteY2" fmla="*/ 2612771 h 6858000"/>
              <a:gd name="connsiteX3" fmla="*/ 5093144 w 6096000"/>
              <a:gd name="connsiteY3" fmla="*/ 0 h 6858000"/>
              <a:gd name="connsiteX4" fmla="*/ 6096000 w 6096000"/>
              <a:gd name="connsiteY4" fmla="*/ 0 h 6858000"/>
              <a:gd name="connsiteX5" fmla="*/ 6096000 w 6096000"/>
              <a:gd name="connsiteY5" fmla="*/ 1283272 h 6858000"/>
              <a:gd name="connsiteX6" fmla="*/ 4272026 w 6096000"/>
              <a:gd name="connsiteY6" fmla="*/ 4115435 h 6858000"/>
              <a:gd name="connsiteX7" fmla="*/ 4272026 w 6096000"/>
              <a:gd name="connsiteY7" fmla="*/ 6858000 h 6858000"/>
              <a:gd name="connsiteX8" fmla="*/ 2650427 w 6096000"/>
              <a:gd name="connsiteY8" fmla="*/ 6858000 h 6858000"/>
              <a:gd name="connsiteX9" fmla="*/ 2650427 w 6096000"/>
              <a:gd name="connsiteY9" fmla="*/ 410629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1858328" y="0"/>
                </a:lnTo>
                <a:lnTo>
                  <a:pt x="3456432" y="2612771"/>
                </a:lnTo>
                <a:lnTo>
                  <a:pt x="5093144" y="0"/>
                </a:lnTo>
                <a:lnTo>
                  <a:pt x="6096000" y="0"/>
                </a:lnTo>
                <a:lnTo>
                  <a:pt x="6096000" y="1283272"/>
                </a:lnTo>
                <a:lnTo>
                  <a:pt x="4272026" y="4115435"/>
                </a:lnTo>
                <a:lnTo>
                  <a:pt x="4272026" y="6858000"/>
                </a:lnTo>
                <a:lnTo>
                  <a:pt x="2650427" y="6858000"/>
                </a:lnTo>
                <a:lnTo>
                  <a:pt x="2650427" y="41062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4D08DEC-6623-4781-9EAF-1AEF06E65F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0" y="3424064"/>
            <a:ext cx="2667000" cy="992633"/>
          </a:xfrm>
        </p:spPr>
        <p:txBody>
          <a:bodyPr/>
          <a:lstStyle>
            <a:lvl1pPr marL="0" indent="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 rtl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627CD43-C8BD-456F-B11B-D4CCC5605F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9001" y="3424064"/>
            <a:ext cx="2666999" cy="992633"/>
          </a:xfrm>
        </p:spPr>
        <p:txBody>
          <a:bodyPr/>
          <a:lstStyle>
            <a:lvl1pPr marL="0" indent="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 rtl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grpSp>
        <p:nvGrpSpPr>
          <p:cNvPr id="26" name="Graphic 19">
            <a:extLst>
              <a:ext uri="{FF2B5EF4-FFF2-40B4-BE49-F238E27FC236}">
                <a16:creationId xmlns:a16="http://schemas.microsoft.com/office/drawing/2014/main" id="{D8D986CC-9B47-4B75-9BCD-29E200D094F9}"/>
              </a:ext>
            </a:extLst>
          </p:cNvPr>
          <p:cNvGrpSpPr/>
          <p:nvPr userDrawn="1"/>
        </p:nvGrpSpPr>
        <p:grpSpPr>
          <a:xfrm>
            <a:off x="381000" y="6250079"/>
            <a:ext cx="1901823" cy="223746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A0E8E75B-ACB1-40EC-91FD-14C0A2D3A476}"/>
                </a:ext>
              </a:extLst>
            </p:cNvPr>
            <p:cNvSpPr/>
            <p:nvPr/>
          </p:nvSpPr>
          <p:spPr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B7A694C7-7536-4187-8B55-E4A46D058B83}"/>
                </a:ext>
              </a:extLst>
            </p:cNvPr>
            <p:cNvSpPr/>
            <p:nvPr/>
          </p:nvSpPr>
          <p:spPr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A90AC4F7-A0F8-47C4-AB3E-F18869A9E4A5}"/>
                </a:ext>
              </a:extLst>
            </p:cNvPr>
            <p:cNvSpPr/>
            <p:nvPr/>
          </p:nvSpPr>
          <p:spPr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B695B17-2FD5-4411-8281-DA58C9A3F944}"/>
                </a:ext>
              </a:extLst>
            </p:cNvPr>
            <p:cNvSpPr/>
            <p:nvPr/>
          </p:nvSpPr>
          <p:spPr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" name="Freeform 15">
              <a:extLst>
                <a:ext uri="{FF2B5EF4-FFF2-40B4-BE49-F238E27FC236}">
                  <a16:creationId xmlns:a16="http://schemas.microsoft.com/office/drawing/2014/main" id="{D6B62859-BAD3-49CA-BA94-73296F549BD0}"/>
                </a:ext>
              </a:extLst>
            </p:cNvPr>
            <p:cNvSpPr/>
            <p:nvPr/>
          </p:nvSpPr>
          <p:spPr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" name="Freeform 16">
              <a:extLst>
                <a:ext uri="{FF2B5EF4-FFF2-40B4-BE49-F238E27FC236}">
                  <a16:creationId xmlns:a16="http://schemas.microsoft.com/office/drawing/2014/main" id="{9199EE27-3DE6-4BFA-A85B-AFDA2A8B959B}"/>
                </a:ext>
              </a:extLst>
            </p:cNvPr>
            <p:cNvSpPr/>
            <p:nvPr/>
          </p:nvSpPr>
          <p:spPr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" name="Freeform 17">
              <a:extLst>
                <a:ext uri="{FF2B5EF4-FFF2-40B4-BE49-F238E27FC236}">
                  <a16:creationId xmlns:a16="http://schemas.microsoft.com/office/drawing/2014/main" id="{2CDF0A25-4EEA-441C-A6E6-F2B07A6E5124}"/>
                </a:ext>
              </a:extLst>
            </p:cNvPr>
            <p:cNvSpPr/>
            <p:nvPr/>
          </p:nvSpPr>
          <p:spPr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r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pic>
        <p:nvPicPr>
          <p:cNvPr id="34" name="Picture 33" descr="A drawing of a face&#10;&#10;Description automatically generated">
            <a:hlinkClick r:id="rId5"/>
            <a:extLst>
              <a:ext uri="{FF2B5EF4-FFF2-40B4-BE49-F238E27FC236}">
                <a16:creationId xmlns:a16="http://schemas.microsoft.com/office/drawing/2014/main" id="{2A565116-6508-49C7-87EB-B9E5099C289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715" y="4930812"/>
            <a:ext cx="406400" cy="406400"/>
          </a:xfrm>
          <a:prstGeom prst="rect">
            <a:avLst/>
          </a:prstGeom>
        </p:spPr>
      </p:pic>
      <p:pic>
        <p:nvPicPr>
          <p:cNvPr id="35" name="Picture 34" descr="A picture containing drawing&#10;&#10;Description automatically generated">
            <a:hlinkClick r:id="rId7"/>
            <a:extLst>
              <a:ext uri="{FF2B5EF4-FFF2-40B4-BE49-F238E27FC236}">
                <a16:creationId xmlns:a16="http://schemas.microsoft.com/office/drawing/2014/main" id="{E7007630-77E7-42BB-BAA5-FAF0126C0AB9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640" y="4930812"/>
            <a:ext cx="406400" cy="406400"/>
          </a:xfrm>
          <a:prstGeom prst="rect">
            <a:avLst/>
          </a:prstGeom>
        </p:spPr>
      </p:pic>
      <p:pic>
        <p:nvPicPr>
          <p:cNvPr id="36" name="Picture 35" descr="A picture containing drawing&#10;&#10;Description automatically generated">
            <a:hlinkClick r:id="rId9"/>
            <a:extLst>
              <a:ext uri="{FF2B5EF4-FFF2-40B4-BE49-F238E27FC236}">
                <a16:creationId xmlns:a16="http://schemas.microsoft.com/office/drawing/2014/main" id="{181FE440-240E-4D13-A503-8BD65F04EFB8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2565" y="4930812"/>
            <a:ext cx="406400" cy="406400"/>
          </a:xfrm>
          <a:prstGeom prst="rect">
            <a:avLst/>
          </a:prstGeom>
        </p:spPr>
      </p:pic>
      <p:pic>
        <p:nvPicPr>
          <p:cNvPr id="37" name="Picture 36" descr="A picture containing drawing&#10;&#10;Description automatically generated">
            <a:hlinkClick r:id="rId11"/>
            <a:extLst>
              <a:ext uri="{FF2B5EF4-FFF2-40B4-BE49-F238E27FC236}">
                <a16:creationId xmlns:a16="http://schemas.microsoft.com/office/drawing/2014/main" id="{0937E484-B066-45FF-98FD-C64958D62237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8415" y="4924954"/>
            <a:ext cx="406400" cy="406400"/>
          </a:xfrm>
          <a:prstGeom prst="rect">
            <a:avLst/>
          </a:prstGeom>
        </p:spPr>
      </p:pic>
      <p:pic>
        <p:nvPicPr>
          <p:cNvPr id="38" name="Picture 37" descr="A drawing of a face&#10;&#10;Description automatically generated">
            <a:hlinkClick r:id="rId13"/>
            <a:extLst>
              <a:ext uri="{FF2B5EF4-FFF2-40B4-BE49-F238E27FC236}">
                <a16:creationId xmlns:a16="http://schemas.microsoft.com/office/drawing/2014/main" id="{EDC82321-65DC-4E2A-9F1D-5B9B67135F0E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5490" y="4924954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428601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BC4158E-DD75-46BB-922F-9CFB93643A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5117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1" imgH="340" progId="TCLayout.ActiveDocument.1">
                  <p:embed/>
                </p:oleObj>
              </mc:Choice>
              <mc:Fallback>
                <p:oleObj name="think-cell Slide" r:id="rId3" imgW="341" imgH="34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BC4158E-DD75-46BB-922F-9CFB93643A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vert="horz" rtlCol="0"/>
          <a:lstStyle>
            <a:lvl1pPr rtl="0"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310868289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F16389-E8B9-4DEC-A80C-6A9DC0D84D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3374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F16389-E8B9-4DEC-A80C-6A9DC0D84D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FACB92-DF5A-4400-AA4D-954830BAB2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AD4FE1-9E37-084D-B5CD-5C8B5F3169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1001" y="381000"/>
            <a:ext cx="5334000" cy="1518442"/>
          </a:xfrm>
        </p:spPr>
        <p:txBody>
          <a:bodyPr lIns="0" rIns="0" anchor="t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800"/>
            </a:lvl1pPr>
          </a:lstStyle>
          <a:p>
            <a:r>
              <a:rPr lang="en-US"/>
              <a:t>What are you here </a:t>
            </a:r>
            <a:br>
              <a:rPr lang="en-US"/>
            </a:br>
            <a:r>
              <a:rPr lang="en-US"/>
              <a:t>to say? Set the tone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8B117B-053B-D74C-BAD6-ABB3754D81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1001" y="2667000"/>
            <a:ext cx="5334000" cy="1143000"/>
          </a:xfrm>
        </p:spPr>
        <p:txBody>
          <a:bodyPr lIns="0" rIns="0"/>
          <a:lstStyle>
            <a:lvl1pPr marL="0" indent="952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000" b="1"/>
            </a:lvl1pPr>
            <a:lvl2pPr marL="0" marR="0" indent="95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2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0" indent="9525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4pPr>
            <a:lvl5pPr marL="0" indent="-1819275" algn="l">
              <a:spcAft>
                <a:spcPts val="0"/>
              </a:spcAft>
              <a:buNone/>
              <a:tabLst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Add supporting detail</a:t>
            </a:r>
          </a:p>
          <a:p>
            <a:pPr lvl="1"/>
            <a:r>
              <a:rPr lang="en-US"/>
              <a:t>Date</a:t>
            </a:r>
          </a:p>
        </p:txBody>
      </p:sp>
      <p:sp>
        <p:nvSpPr>
          <p:cNvPr id="15" name="Picture Placeholder 33">
            <a:extLst>
              <a:ext uri="{FF2B5EF4-FFF2-40B4-BE49-F238E27FC236}">
                <a16:creationId xmlns:a16="http://schemas.microsoft.com/office/drawing/2014/main" id="{1D5CCC86-3F10-B647-A528-00A82173898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102350" y="0"/>
            <a:ext cx="6089650" cy="6858000"/>
          </a:xfrm>
          <a:custGeom>
            <a:avLst/>
            <a:gdLst>
              <a:gd name="connsiteX0" fmla="*/ 0 w 6089650"/>
              <a:gd name="connsiteY0" fmla="*/ 0 h 6858000"/>
              <a:gd name="connsiteX1" fmla="*/ 1595374 w 6089650"/>
              <a:gd name="connsiteY1" fmla="*/ 0 h 6858000"/>
              <a:gd name="connsiteX2" fmla="*/ 1595374 w 6089650"/>
              <a:gd name="connsiteY2" fmla="*/ 2523300 h 6858000"/>
              <a:gd name="connsiteX3" fmla="*/ 2028381 w 6089650"/>
              <a:gd name="connsiteY3" fmla="*/ 2523300 h 6858000"/>
              <a:gd name="connsiteX4" fmla="*/ 4196207 w 6089650"/>
              <a:gd name="connsiteY4" fmla="*/ 0 h 6858000"/>
              <a:gd name="connsiteX5" fmla="*/ 6089650 w 6089650"/>
              <a:gd name="connsiteY5" fmla="*/ 0 h 6858000"/>
              <a:gd name="connsiteX6" fmla="*/ 6089650 w 6089650"/>
              <a:gd name="connsiteY6" fmla="*/ 149543 h 6858000"/>
              <a:gd name="connsiteX7" fmla="*/ 3336607 w 6089650"/>
              <a:gd name="connsiteY7" fmla="*/ 3429000 h 6858000"/>
              <a:gd name="connsiteX8" fmla="*/ 6089650 w 6089650"/>
              <a:gd name="connsiteY8" fmla="*/ 6708394 h 6858000"/>
              <a:gd name="connsiteX9" fmla="*/ 6089650 w 6089650"/>
              <a:gd name="connsiteY9" fmla="*/ 6858000 h 6858000"/>
              <a:gd name="connsiteX10" fmla="*/ 4197350 w 6089650"/>
              <a:gd name="connsiteY10" fmla="*/ 6858000 h 6858000"/>
              <a:gd name="connsiteX11" fmla="*/ 2049907 w 6089650"/>
              <a:gd name="connsiteY11" fmla="*/ 4309428 h 6858000"/>
              <a:gd name="connsiteX12" fmla="*/ 1595311 w 6089650"/>
              <a:gd name="connsiteY12" fmla="*/ 4309301 h 6858000"/>
              <a:gd name="connsiteX13" fmla="*/ 1595311 w 6089650"/>
              <a:gd name="connsiteY13" fmla="*/ 6858000 h 6858000"/>
              <a:gd name="connsiteX14" fmla="*/ 0 w 6089650"/>
              <a:gd name="connsiteY1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89650" h="6858000">
                <a:moveTo>
                  <a:pt x="0" y="0"/>
                </a:moveTo>
                <a:lnTo>
                  <a:pt x="1595374" y="0"/>
                </a:lnTo>
                <a:lnTo>
                  <a:pt x="1595374" y="2523300"/>
                </a:lnTo>
                <a:lnTo>
                  <a:pt x="2028381" y="2523300"/>
                </a:lnTo>
                <a:lnTo>
                  <a:pt x="4196207" y="0"/>
                </a:lnTo>
                <a:lnTo>
                  <a:pt x="6089650" y="0"/>
                </a:lnTo>
                <a:lnTo>
                  <a:pt x="6089650" y="149543"/>
                </a:lnTo>
                <a:lnTo>
                  <a:pt x="3336607" y="3429000"/>
                </a:lnTo>
                <a:lnTo>
                  <a:pt x="6089650" y="6708394"/>
                </a:lnTo>
                <a:lnTo>
                  <a:pt x="6089650" y="6858000"/>
                </a:lnTo>
                <a:lnTo>
                  <a:pt x="4197350" y="6858000"/>
                </a:lnTo>
                <a:lnTo>
                  <a:pt x="2049907" y="4309428"/>
                </a:lnTo>
                <a:lnTo>
                  <a:pt x="1595311" y="4309301"/>
                </a:lnTo>
                <a:lnTo>
                  <a:pt x="159531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algn="l">
              <a:defRPr sz="11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imag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5B1E1F9-B553-404E-B4A0-E71530CCD4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14885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3F9F64B-940B-43E0-8291-E8A36A1AE55A}"/>
              </a:ext>
            </a:extLst>
          </p:cNvPr>
          <p:cNvSpPr>
            <a:spLocks noGrp="1"/>
          </p:cNvSpPr>
          <p:nvPr>
            <p:ph sz="quarter" idx="10"/>
          </p:nvPr>
        </p:nvSpPr>
        <p:spPr bwMode="gray">
          <a:xfrm>
            <a:off x="3428999" y="381001"/>
            <a:ext cx="8382001" cy="5715000"/>
          </a:xfrm>
        </p:spPr>
        <p:txBody>
          <a:bodyPr/>
          <a:lstStyle>
            <a:lvl1pPr>
              <a:spcAft>
                <a:spcPts val="18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/>
            </a:lvl2pPr>
            <a:lvl3pPr marL="177800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359156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  <a:lvl5pPr marL="538734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6F9B490-F790-4671-9748-99A165BDC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59060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CAA8CDD-85D5-455D-B49F-664C574260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76237" y="381000"/>
            <a:ext cx="11434763" cy="5335587"/>
          </a:xfrm>
        </p:spPr>
        <p:txBody>
          <a:bodyPr/>
          <a:lstStyle>
            <a:lvl1pPr marL="723900" marR="0" indent="-72390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3800" b="1">
                <a:solidFill>
                  <a:schemeClr val="tx2"/>
                </a:solidFill>
              </a:defRPr>
            </a:lvl1pPr>
            <a:lvl2pPr marL="1376363" indent="-62865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/>
              <a:defRPr sz="3800" b="1">
                <a:solidFill>
                  <a:schemeClr val="tx2"/>
                </a:solidFill>
              </a:defRPr>
            </a:lvl2pPr>
            <a:lvl3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3pPr>
            <a:lvl4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4pPr>
            <a:lvl5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hapter heading</a:t>
            </a:r>
          </a:p>
          <a:p>
            <a:pPr lvl="1"/>
            <a:r>
              <a:rPr lang="en-US"/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5526961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AE1E5AF-43EF-49CD-A70B-FBA2BCAA3F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Key message. </a:t>
            </a:r>
            <a:br>
              <a:rPr lang="en-GB"/>
            </a:br>
            <a:r>
              <a:rPr lang="en-GB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381850196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47065A8-FE0C-4E45-8273-572C0E002B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4840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47065A8-FE0C-4E45-8273-572C0E002B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3D906BB-B766-4A81-982C-FF509E5EC78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51A428E3-848B-4A4F-88B3-C1AC15148599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477001" y="0"/>
            <a:ext cx="5714999" cy="6858000"/>
          </a:xfrm>
          <a:custGeom>
            <a:avLst/>
            <a:gdLst>
              <a:gd name="connsiteX0" fmla="*/ 0 w 5629275"/>
              <a:gd name="connsiteY0" fmla="*/ 0 h 6858000"/>
              <a:gd name="connsiteX1" fmla="*/ 5629275 w 5629275"/>
              <a:gd name="connsiteY1" fmla="*/ 0 h 6858000"/>
              <a:gd name="connsiteX2" fmla="*/ 5629275 w 5629275"/>
              <a:gd name="connsiteY2" fmla="*/ 1423986 h 6858000"/>
              <a:gd name="connsiteX3" fmla="*/ 1566860 w 5629275"/>
              <a:gd name="connsiteY3" fmla="*/ 1423986 h 6858000"/>
              <a:gd name="connsiteX4" fmla="*/ 1566860 w 5629275"/>
              <a:gd name="connsiteY4" fmla="*/ 2709861 h 6858000"/>
              <a:gd name="connsiteX5" fmla="*/ 5072061 w 5629275"/>
              <a:gd name="connsiteY5" fmla="*/ 2709861 h 6858000"/>
              <a:gd name="connsiteX6" fmla="*/ 5072061 w 5629275"/>
              <a:gd name="connsiteY6" fmla="*/ 4204704 h 6858000"/>
              <a:gd name="connsiteX7" fmla="*/ 1566860 w 5629275"/>
              <a:gd name="connsiteY7" fmla="*/ 4204704 h 6858000"/>
              <a:gd name="connsiteX8" fmla="*/ 1566860 w 5629275"/>
              <a:gd name="connsiteY8" fmla="*/ 5386387 h 6858000"/>
              <a:gd name="connsiteX9" fmla="*/ 5629275 w 5629275"/>
              <a:gd name="connsiteY9" fmla="*/ 5386387 h 6858000"/>
              <a:gd name="connsiteX10" fmla="*/ 5629275 w 5629275"/>
              <a:gd name="connsiteY10" fmla="*/ 6858000 h 6858000"/>
              <a:gd name="connsiteX11" fmla="*/ 0 w 5629275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629275" h="6858000">
                <a:moveTo>
                  <a:pt x="0" y="0"/>
                </a:moveTo>
                <a:lnTo>
                  <a:pt x="5629275" y="0"/>
                </a:lnTo>
                <a:lnTo>
                  <a:pt x="5629275" y="1423986"/>
                </a:lnTo>
                <a:lnTo>
                  <a:pt x="1566860" y="1423986"/>
                </a:lnTo>
                <a:lnTo>
                  <a:pt x="1566860" y="2709861"/>
                </a:lnTo>
                <a:lnTo>
                  <a:pt x="5072061" y="2709861"/>
                </a:lnTo>
                <a:lnTo>
                  <a:pt x="5072061" y="4204704"/>
                </a:lnTo>
                <a:lnTo>
                  <a:pt x="1566860" y="4204704"/>
                </a:lnTo>
                <a:lnTo>
                  <a:pt x="1566860" y="5386387"/>
                </a:lnTo>
                <a:lnTo>
                  <a:pt x="5629275" y="5386387"/>
                </a:lnTo>
                <a:lnTo>
                  <a:pt x="56292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Set the scene.</a:t>
            </a:r>
            <a:br>
              <a:rPr lang="en-US"/>
            </a:br>
            <a:r>
              <a:rPr lang="en-US"/>
              <a:t>Cover the context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E1206B-8429-4EF3-BAFD-1AE585D9C24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338412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1126D42-B0E9-499F-A915-8A39956BF8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6036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1126D42-B0E9-499F-A915-8A39956BF8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52BC96C-63C5-4844-96EE-D90D933B1DF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34001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Make your case.</a:t>
            </a:r>
            <a:br>
              <a:rPr lang="en-US"/>
            </a:br>
            <a:r>
              <a:rPr lang="en-US"/>
              <a:t>Show the proof.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1FB390D-B9A1-4431-8429-E440C2BE686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5726131" y="0"/>
            <a:ext cx="6465869" cy="6856413"/>
          </a:xfrm>
          <a:custGeom>
            <a:avLst/>
            <a:gdLst>
              <a:gd name="connsiteX0" fmla="*/ 3570285 w 6465869"/>
              <a:gd name="connsiteY0" fmla="*/ 2074129 h 6856413"/>
              <a:gd name="connsiteX1" fmla="*/ 2780173 w 6465869"/>
              <a:gd name="connsiteY1" fmla="*/ 3992705 h 6856413"/>
              <a:gd name="connsiteX2" fmla="*/ 4357474 w 6465869"/>
              <a:gd name="connsiteY2" fmla="*/ 3992705 h 6856413"/>
              <a:gd name="connsiteX3" fmla="*/ 2786873 w 6465869"/>
              <a:gd name="connsiteY3" fmla="*/ 0 h 6856413"/>
              <a:gd name="connsiteX4" fmla="*/ 4349150 w 6465869"/>
              <a:gd name="connsiteY4" fmla="*/ 0 h 6856413"/>
              <a:gd name="connsiteX5" fmla="*/ 6465869 w 6465869"/>
              <a:gd name="connsiteY5" fmla="*/ 5210627 h 6856413"/>
              <a:gd name="connsiteX6" fmla="*/ 6465869 w 6465869"/>
              <a:gd name="connsiteY6" fmla="*/ 6856413 h 6856413"/>
              <a:gd name="connsiteX7" fmla="*/ 5487503 w 6465869"/>
              <a:gd name="connsiteY7" fmla="*/ 6856413 h 6856413"/>
              <a:gd name="connsiteX8" fmla="*/ 4896573 w 6465869"/>
              <a:gd name="connsiteY8" fmla="*/ 5390820 h 6856413"/>
              <a:gd name="connsiteX9" fmla="*/ 2199618 w 6465869"/>
              <a:gd name="connsiteY9" fmla="*/ 5390820 h 6856413"/>
              <a:gd name="connsiteX10" fmla="*/ 1612707 w 6465869"/>
              <a:gd name="connsiteY10" fmla="*/ 6856413 h 6856413"/>
              <a:gd name="connsiteX11" fmla="*/ 0 w 6465869"/>
              <a:gd name="connsiteY11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465869" h="6856413">
                <a:moveTo>
                  <a:pt x="3570285" y="2074129"/>
                </a:moveTo>
                <a:lnTo>
                  <a:pt x="2780173" y="3992705"/>
                </a:lnTo>
                <a:lnTo>
                  <a:pt x="4357474" y="3992705"/>
                </a:lnTo>
                <a:close/>
                <a:moveTo>
                  <a:pt x="2786873" y="0"/>
                </a:moveTo>
                <a:lnTo>
                  <a:pt x="4349150" y="0"/>
                </a:lnTo>
                <a:lnTo>
                  <a:pt x="6465869" y="5210627"/>
                </a:lnTo>
                <a:lnTo>
                  <a:pt x="6465869" y="6856413"/>
                </a:lnTo>
                <a:lnTo>
                  <a:pt x="5487503" y="6856413"/>
                </a:lnTo>
                <a:lnTo>
                  <a:pt x="4896573" y="5390820"/>
                </a:lnTo>
                <a:lnTo>
                  <a:pt x="2199618" y="5390820"/>
                </a:lnTo>
                <a:lnTo>
                  <a:pt x="1612707" y="6856413"/>
                </a:lnTo>
                <a:lnTo>
                  <a:pt x="0" y="68564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BEAD478-665D-496C-B00E-61831230A9ED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7263644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76B111-B678-4C87-B9DB-258250659E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9399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76B111-B678-4C87-B9DB-258250659E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933C2C-4ED0-4B82-8997-E93AEB96EC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75495C2-4728-204B-897F-ADE6303F8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The ‘so what?’.</a:t>
            </a:r>
            <a:br>
              <a:rPr lang="en-US"/>
            </a:br>
            <a:r>
              <a:rPr lang="en-US"/>
              <a:t>How to make a change.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F682349-BFFC-4F99-8587-BDD310D1943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1"/>
            <a:ext cx="6096000" cy="6856412"/>
          </a:xfrm>
          <a:custGeom>
            <a:avLst/>
            <a:gdLst>
              <a:gd name="connsiteX0" fmla="*/ 1514163 w 6096000"/>
              <a:gd name="connsiteY0" fmla="*/ 1272567 h 6856412"/>
              <a:gd name="connsiteX1" fmla="*/ 1514163 w 6096000"/>
              <a:gd name="connsiteY1" fmla="*/ 2918854 h 6856412"/>
              <a:gd name="connsiteX2" fmla="*/ 3141813 w 6096000"/>
              <a:gd name="connsiteY2" fmla="*/ 2918854 h 6856412"/>
              <a:gd name="connsiteX3" fmla="*/ 4300976 w 6096000"/>
              <a:gd name="connsiteY3" fmla="*/ 2074657 h 6856412"/>
              <a:gd name="connsiteX4" fmla="*/ 3141813 w 6096000"/>
              <a:gd name="connsiteY4" fmla="*/ 1272648 h 6856412"/>
              <a:gd name="connsiteX5" fmla="*/ 0 w 6096000"/>
              <a:gd name="connsiteY5" fmla="*/ 0 h 6856412"/>
              <a:gd name="connsiteX6" fmla="*/ 3371063 w 6096000"/>
              <a:gd name="connsiteY6" fmla="*/ 0 h 6856412"/>
              <a:gd name="connsiteX7" fmla="*/ 5764098 w 6096000"/>
              <a:gd name="connsiteY7" fmla="*/ 1914880 h 6856412"/>
              <a:gd name="connsiteX8" fmla="*/ 4473298 w 6096000"/>
              <a:gd name="connsiteY8" fmla="*/ 3946539 h 6856412"/>
              <a:gd name="connsiteX9" fmla="*/ 4067868 w 6096000"/>
              <a:gd name="connsiteY9" fmla="*/ 4051622 h 6856412"/>
              <a:gd name="connsiteX10" fmla="*/ 6096000 w 6096000"/>
              <a:gd name="connsiteY10" fmla="*/ 6743454 h 6856412"/>
              <a:gd name="connsiteX11" fmla="*/ 6096000 w 6096000"/>
              <a:gd name="connsiteY11" fmla="*/ 6856412 h 6856412"/>
              <a:gd name="connsiteX12" fmla="*/ 4434202 w 6096000"/>
              <a:gd name="connsiteY12" fmla="*/ 6856412 h 6856412"/>
              <a:gd name="connsiteX13" fmla="*/ 2428564 w 6096000"/>
              <a:gd name="connsiteY13" fmla="*/ 4203318 h 6856412"/>
              <a:gd name="connsiteX14" fmla="*/ 1514081 w 6096000"/>
              <a:gd name="connsiteY14" fmla="*/ 4203318 h 6856412"/>
              <a:gd name="connsiteX15" fmla="*/ 1514163 w 6096000"/>
              <a:gd name="connsiteY15" fmla="*/ 6856412 h 6856412"/>
              <a:gd name="connsiteX16" fmla="*/ 0 w 6096000"/>
              <a:gd name="connsiteY16" fmla="*/ 6856412 h 6856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096000" h="6856412">
                <a:moveTo>
                  <a:pt x="1514163" y="1272567"/>
                </a:moveTo>
                <a:lnTo>
                  <a:pt x="1514163" y="2918854"/>
                </a:lnTo>
                <a:lnTo>
                  <a:pt x="3141813" y="2918854"/>
                </a:lnTo>
                <a:cubicBezTo>
                  <a:pt x="4117526" y="2918854"/>
                  <a:pt x="4300976" y="2462344"/>
                  <a:pt x="4300976" y="2074657"/>
                </a:cubicBezTo>
                <a:cubicBezTo>
                  <a:pt x="4300976" y="1664111"/>
                  <a:pt x="4089550" y="1272648"/>
                  <a:pt x="3141813" y="1272648"/>
                </a:cubicBezTo>
                <a:close/>
                <a:moveTo>
                  <a:pt x="0" y="0"/>
                </a:moveTo>
                <a:lnTo>
                  <a:pt x="3371063" y="0"/>
                </a:lnTo>
                <a:cubicBezTo>
                  <a:pt x="5093320" y="0"/>
                  <a:pt x="5764098" y="808058"/>
                  <a:pt x="5764098" y="1914880"/>
                </a:cubicBezTo>
                <a:cubicBezTo>
                  <a:pt x="5764098" y="2958727"/>
                  <a:pt x="5303162" y="3570018"/>
                  <a:pt x="4473298" y="3946539"/>
                </a:cubicBezTo>
                <a:cubicBezTo>
                  <a:pt x="4473298" y="3946539"/>
                  <a:pt x="4340686" y="3999770"/>
                  <a:pt x="4067868" y="4051622"/>
                </a:cubicBezTo>
                <a:lnTo>
                  <a:pt x="6096000" y="6743454"/>
                </a:lnTo>
                <a:lnTo>
                  <a:pt x="6096000" y="6856412"/>
                </a:lnTo>
                <a:lnTo>
                  <a:pt x="4434202" y="6856412"/>
                </a:lnTo>
                <a:lnTo>
                  <a:pt x="2428564" y="4203318"/>
                </a:lnTo>
                <a:lnTo>
                  <a:pt x="1514081" y="4203318"/>
                </a:lnTo>
                <a:lnTo>
                  <a:pt x="1514163" y="6856412"/>
                </a:lnTo>
                <a:lnTo>
                  <a:pt x="0" y="685641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ED46054-2F2F-486D-8E76-7CFB315D34E1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94082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C422FD-F8A6-468E-BE3F-631D75B0D1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364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C422FD-F8A6-468E-BE3F-631D75B0D1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3B76641-2E82-4B63-93DA-5A86BD6B72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01EA128-4E92-46A3-B8EE-474F087E3FF2}"/>
              </a:ext>
            </a:extLst>
          </p:cNvPr>
          <p:cNvSpPr/>
          <p:nvPr userDrawn="1"/>
        </p:nvSpPr>
        <p:spPr bwMode="gray">
          <a:xfrm>
            <a:off x="11064552" y="6536518"/>
            <a:ext cx="828092" cy="2520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For further reading.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9CAB22E-EAD9-4ABF-B95C-BC9F35E8C46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2"/>
            <a:ext cx="6096000" cy="6857917"/>
          </a:xfrm>
          <a:custGeom>
            <a:avLst/>
            <a:gdLst>
              <a:gd name="connsiteX0" fmla="*/ 4601190 w 6096000"/>
              <a:gd name="connsiteY0" fmla="*/ 0 h 6857917"/>
              <a:gd name="connsiteX1" fmla="*/ 6096000 w 6096000"/>
              <a:gd name="connsiteY1" fmla="*/ 0 h 6857917"/>
              <a:gd name="connsiteX2" fmla="*/ 6096000 w 6096000"/>
              <a:gd name="connsiteY2" fmla="*/ 6857917 h 6857917"/>
              <a:gd name="connsiteX3" fmla="*/ 4618948 w 6096000"/>
              <a:gd name="connsiteY3" fmla="*/ 6857917 h 6857917"/>
              <a:gd name="connsiteX4" fmla="*/ 1584185 w 6096000"/>
              <a:gd name="connsiteY4" fmla="*/ 2803325 h 6857917"/>
              <a:gd name="connsiteX5" fmla="*/ 1580380 w 6096000"/>
              <a:gd name="connsiteY5" fmla="*/ 6857917 h 6857917"/>
              <a:gd name="connsiteX6" fmla="*/ 4651 w 6096000"/>
              <a:gd name="connsiteY6" fmla="*/ 6857917 h 6857917"/>
              <a:gd name="connsiteX7" fmla="*/ 0 w 6096000"/>
              <a:gd name="connsiteY7" fmla="*/ 2368 h 6857917"/>
              <a:gd name="connsiteX8" fmla="*/ 1551883 w 6096000"/>
              <a:gd name="connsiteY8" fmla="*/ 2368 h 6857917"/>
              <a:gd name="connsiteX9" fmla="*/ 4601190 w 6096000"/>
              <a:gd name="connsiteY9" fmla="*/ 4070490 h 6857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7917">
                <a:moveTo>
                  <a:pt x="4601190" y="0"/>
                </a:moveTo>
                <a:lnTo>
                  <a:pt x="6096000" y="0"/>
                </a:lnTo>
                <a:lnTo>
                  <a:pt x="6096000" y="6857917"/>
                </a:lnTo>
                <a:lnTo>
                  <a:pt x="4618948" y="6857917"/>
                </a:lnTo>
                <a:lnTo>
                  <a:pt x="1584185" y="2803325"/>
                </a:lnTo>
                <a:lnTo>
                  <a:pt x="1580380" y="6857917"/>
                </a:lnTo>
                <a:lnTo>
                  <a:pt x="4651" y="6857917"/>
                </a:lnTo>
                <a:lnTo>
                  <a:pt x="0" y="2368"/>
                </a:lnTo>
                <a:lnTo>
                  <a:pt x="1551883" y="2368"/>
                </a:lnTo>
                <a:lnTo>
                  <a:pt x="4601190" y="407049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3D351D1-FFB6-4227-9ADC-05525A9B855E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604821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A7080B1-814D-4356-94DB-71BD7ED1BF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038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A7080B1-814D-4356-94DB-71BD7ED1BF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6BD8039-0BD3-4061-81FD-CF887F58DF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267017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en-GB" sz="3800" b="1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en-US" b="1">
                <a:effectLst/>
                <a:latin typeface="Arial" panose="020B0604020202020204" pitchFamily="34" charset="0"/>
              </a:rPr>
              <a:t>Add an optional sub-chapter that supports the narrative</a:t>
            </a:r>
            <a:endParaRPr lang="en-US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76537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446ED1-B935-40E1-9636-4DD03C1D7C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4062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446ED1-B935-40E1-9636-4DD03C1D7C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4F1CC-BBCD-4AD6-9A7C-137FEFA779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AE1E5AF-43EF-49CD-A70B-FBA2BCAA3F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22637821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15724824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43525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4FEF0F-449D-494E-B003-BA0DE42F6122}"/>
              </a:ext>
            </a:extLst>
          </p:cNvPr>
          <p:cNvSpPr>
            <a:spLocks noGrp="1"/>
          </p:cNvSpPr>
          <p:nvPr>
            <p:ph sz="half" idx="1"/>
          </p:nvPr>
        </p:nvSpPr>
        <p:spPr bwMode="gray">
          <a:xfrm>
            <a:off x="381001" y="1905000"/>
            <a:ext cx="5334000" cy="4187824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  <a:lvl3pPr marL="359156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538734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DA243C-D223-024A-A211-1CD96C903785}"/>
              </a:ext>
            </a:extLst>
          </p:cNvPr>
          <p:cNvSpPr>
            <a:spLocks noGrp="1"/>
          </p:cNvSpPr>
          <p:nvPr>
            <p:ph sz="half" idx="2"/>
          </p:nvPr>
        </p:nvSpPr>
        <p:spPr bwMode="gray">
          <a:xfrm>
            <a:off x="6476999" y="1905000"/>
            <a:ext cx="5334001" cy="4187825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77072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lleng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5897343-393D-0E44-A97B-2079B348B1F9}"/>
              </a:ext>
            </a:extLst>
          </p:cNvPr>
          <p:cNvSpPr/>
          <p:nvPr userDrawn="1"/>
        </p:nvSpPr>
        <p:spPr bwMode="gray">
          <a:xfrm>
            <a:off x="3044825" y="0"/>
            <a:ext cx="4575175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631238-F440-4B1F-8D7B-809C61CB62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D95ABA3D-BEC2-4D38-9AFA-4954F306F2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004175" y="381000"/>
            <a:ext cx="3806826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D8852F4-3A40-41CF-8793-5F648FBC7E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429000" y="381000"/>
            <a:ext cx="3810000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</p:spTree>
    <p:extLst>
      <p:ext uri="{BB962C8B-B14F-4D97-AF65-F5344CB8AC3E}">
        <p14:creationId xmlns:p14="http://schemas.microsoft.com/office/powerpoint/2010/main" val="9292544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726B13-8A06-4C2F-B3E2-C6E4FDCB91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197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726B13-8A06-4C2F-B3E2-C6E4FDCB91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4DD698-12A5-415B-97E6-9C6DBEB91E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AA1EFBD-66C8-4081-AADF-2B4A352FE64D}"/>
              </a:ext>
            </a:extLst>
          </p:cNvPr>
          <p:cNvSpPr/>
          <p:nvPr userDrawn="1"/>
        </p:nvSpPr>
        <p:spPr bwMode="gray">
          <a:xfrm>
            <a:off x="0" y="-1587"/>
            <a:ext cx="6096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7508A2-A0AF-4811-ACA1-FC84D131531A}"/>
              </a:ext>
            </a:extLst>
          </p:cNvPr>
          <p:cNvSpPr/>
          <p:nvPr userDrawn="1"/>
        </p:nvSpPr>
        <p:spPr bwMode="gray">
          <a:xfrm>
            <a:off x="-7168" y="3048000"/>
            <a:ext cx="6101581" cy="381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Picture Placeholder 21">
            <a:extLst>
              <a:ext uri="{FF2B5EF4-FFF2-40B4-BE49-F238E27FC236}">
                <a16:creationId xmlns:a16="http://schemas.microsoft.com/office/drawing/2014/main" id="{3448625E-017A-4951-9ED5-25641345A0F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722550" y="-1587"/>
            <a:ext cx="2373449" cy="26685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D364477-0314-4F10-9D10-E2EF9653C5E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81000" y="3163395"/>
            <a:ext cx="2667000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reas of Expertis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F7FD24E3-E069-4B35-9C18-F463735BC89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428999" y="3163395"/>
            <a:ext cx="2286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Educ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3B904A-F76F-4A89-9C9D-B0B0D1D3C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urname Name</a:t>
            </a:r>
            <a:br>
              <a:rPr lang="en-US"/>
            </a:br>
            <a:r>
              <a:rPr lang="en-US" b="0"/>
              <a:t>Position, Office, Country</a:t>
            </a:r>
            <a:endParaRPr lang="en-US"/>
          </a:p>
        </p:txBody>
      </p:sp>
      <p:grpSp>
        <p:nvGrpSpPr>
          <p:cNvPr id="35" name="Graphic 19">
            <a:extLst>
              <a:ext uri="{FF2B5EF4-FFF2-40B4-BE49-F238E27FC236}">
                <a16:creationId xmlns:a16="http://schemas.microsoft.com/office/drawing/2014/main" id="{0DF2BC8F-BD6E-4BED-A9DD-8DCAEA9A50D4}"/>
              </a:ext>
            </a:extLst>
          </p:cNvPr>
          <p:cNvGrpSpPr/>
          <p:nvPr userDrawn="1"/>
        </p:nvGrpSpPr>
        <p:grpSpPr bwMode="gray"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36" name="Freeform 21">
              <a:extLst>
                <a:ext uri="{FF2B5EF4-FFF2-40B4-BE49-F238E27FC236}">
                  <a16:creationId xmlns:a16="http://schemas.microsoft.com/office/drawing/2014/main" id="{AC1D5788-EC41-4A64-9CD3-6E3CB88E41EC}"/>
                </a:ext>
              </a:extLst>
            </p:cNvPr>
            <p:cNvSpPr/>
            <p:nvPr/>
          </p:nvSpPr>
          <p:spPr bwMode="gray"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22">
              <a:extLst>
                <a:ext uri="{FF2B5EF4-FFF2-40B4-BE49-F238E27FC236}">
                  <a16:creationId xmlns:a16="http://schemas.microsoft.com/office/drawing/2014/main" id="{009902B4-2695-4527-B5C8-31F48F2A9654}"/>
                </a:ext>
              </a:extLst>
            </p:cNvPr>
            <p:cNvSpPr/>
            <p:nvPr/>
          </p:nvSpPr>
          <p:spPr bwMode="gray"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Freeform 23">
              <a:extLst>
                <a:ext uri="{FF2B5EF4-FFF2-40B4-BE49-F238E27FC236}">
                  <a16:creationId xmlns:a16="http://schemas.microsoft.com/office/drawing/2014/main" id="{D3AD1063-D2B8-4B6A-A86D-08AD8E37AAD7}"/>
                </a:ext>
              </a:extLst>
            </p:cNvPr>
            <p:cNvSpPr/>
            <p:nvPr/>
          </p:nvSpPr>
          <p:spPr bwMode="gray"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24">
              <a:extLst>
                <a:ext uri="{FF2B5EF4-FFF2-40B4-BE49-F238E27FC236}">
                  <a16:creationId xmlns:a16="http://schemas.microsoft.com/office/drawing/2014/main" id="{27E78175-02A9-436A-96A2-9F5365F56578}"/>
                </a:ext>
              </a:extLst>
            </p:cNvPr>
            <p:cNvSpPr/>
            <p:nvPr/>
          </p:nvSpPr>
          <p:spPr bwMode="gray"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25">
              <a:extLst>
                <a:ext uri="{FF2B5EF4-FFF2-40B4-BE49-F238E27FC236}">
                  <a16:creationId xmlns:a16="http://schemas.microsoft.com/office/drawing/2014/main" id="{17E9070A-F511-4A5B-9153-39FEE2463F81}"/>
                </a:ext>
              </a:extLst>
            </p:cNvPr>
            <p:cNvSpPr/>
            <p:nvPr/>
          </p:nvSpPr>
          <p:spPr bwMode="gray"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241166F2-3E56-4401-B77D-EB0307B39A0C}"/>
                </a:ext>
              </a:extLst>
            </p:cNvPr>
            <p:cNvSpPr/>
            <p:nvPr/>
          </p:nvSpPr>
          <p:spPr bwMode="gray"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5F257939-AA22-4BDE-B164-A41F0FA3F5A1}"/>
                </a:ext>
              </a:extLst>
            </p:cNvPr>
            <p:cNvSpPr/>
            <p:nvPr/>
          </p:nvSpPr>
          <p:spPr bwMode="gray"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43D7114F-F639-4ADE-A59A-1DE07A41E53F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6B08D16-5AA2-494D-9218-A5A958D9A79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477000" y="381000"/>
            <a:ext cx="5334000" cy="5707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58AFDCE-ECF6-47EB-A6F5-69ECA2AEC7D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429000" y="3429000"/>
            <a:ext cx="2286000" cy="2615375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B1C7F46-3F09-480F-8300-B47FB5A4F4B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3429000"/>
            <a:ext cx="2667000" cy="2617377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117465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27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oleObject" Target="../embeddings/oleObject3.bin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tags" Target="../tags/tag6.xml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47.xml"/><Relationship Id="rId21" Type="http://schemas.openxmlformats.org/officeDocument/2006/relationships/slideLayout" Target="../slideLayouts/slideLayout65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5" Type="http://schemas.openxmlformats.org/officeDocument/2006/relationships/oleObject" Target="../embeddings/oleObject5.bin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20" Type="http://schemas.openxmlformats.org/officeDocument/2006/relationships/slideLayout" Target="../slideLayouts/slideLayout64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24" Type="http://schemas.openxmlformats.org/officeDocument/2006/relationships/tags" Target="../tags/tag9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23" Type="http://schemas.openxmlformats.org/officeDocument/2006/relationships/tags" Target="../tags/tag8.xml"/><Relationship Id="rId10" Type="http://schemas.openxmlformats.org/officeDocument/2006/relationships/slideLayout" Target="../slideLayouts/slideLayout54.xml"/><Relationship Id="rId19" Type="http://schemas.openxmlformats.org/officeDocument/2006/relationships/slideLayout" Target="../slideLayouts/slideLayout63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Relationship Id="rId22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slideLayout" Target="../slideLayouts/slideLayout78.xml"/><Relationship Id="rId18" Type="http://schemas.openxmlformats.org/officeDocument/2006/relationships/slideLayout" Target="../slideLayouts/slideLayout83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68.xml"/><Relationship Id="rId21" Type="http://schemas.openxmlformats.org/officeDocument/2006/relationships/slideLayout" Target="../slideLayouts/slideLayout86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17" Type="http://schemas.openxmlformats.org/officeDocument/2006/relationships/slideLayout" Target="../slideLayouts/slideLayout82.xml"/><Relationship Id="rId25" Type="http://schemas.openxmlformats.org/officeDocument/2006/relationships/oleObject" Target="../embeddings/oleObject7.bin"/><Relationship Id="rId2" Type="http://schemas.openxmlformats.org/officeDocument/2006/relationships/slideLayout" Target="../slideLayouts/slideLayout67.xml"/><Relationship Id="rId16" Type="http://schemas.openxmlformats.org/officeDocument/2006/relationships/slideLayout" Target="../slideLayouts/slideLayout81.xml"/><Relationship Id="rId20" Type="http://schemas.openxmlformats.org/officeDocument/2006/relationships/slideLayout" Target="../slideLayouts/slideLayout85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24" Type="http://schemas.openxmlformats.org/officeDocument/2006/relationships/tags" Target="../tags/tag12.xml"/><Relationship Id="rId5" Type="http://schemas.openxmlformats.org/officeDocument/2006/relationships/slideLayout" Target="../slideLayouts/slideLayout70.xml"/><Relationship Id="rId15" Type="http://schemas.openxmlformats.org/officeDocument/2006/relationships/slideLayout" Target="../slideLayouts/slideLayout80.xml"/><Relationship Id="rId23" Type="http://schemas.openxmlformats.org/officeDocument/2006/relationships/tags" Target="../tags/tag11.xml"/><Relationship Id="rId10" Type="http://schemas.openxmlformats.org/officeDocument/2006/relationships/slideLayout" Target="../slideLayouts/slideLayout75.xml"/><Relationship Id="rId19" Type="http://schemas.openxmlformats.org/officeDocument/2006/relationships/slideLayout" Target="../slideLayouts/slideLayout84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slideLayout" Target="../slideLayouts/slideLayout79.xml"/><Relationship Id="rId22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image" Target="../media/image15.emf"/><Relationship Id="rId3" Type="http://schemas.openxmlformats.org/officeDocument/2006/relationships/slideLayout" Target="../slideLayouts/slideLayout89.xml"/><Relationship Id="rId21" Type="http://schemas.openxmlformats.org/officeDocument/2006/relationships/theme" Target="../theme/theme5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oleObject" Target="../embeddings/oleObject29.bin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tags" Target="../tags/tag39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tags" Target="../tags/tag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D1BB6C3-85C0-4D78-A335-487D253A70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9556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0" imgH="0" progId="TCLayout.ActiveDocument.1">
                  <p:embed/>
                </p:oleObj>
              </mc:Choice>
              <mc:Fallback>
                <p:oleObj name="think-cell Slide" r:id="rId28" imgW="0" imgH="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D1BB6C3-85C0-4D78-A335-487D253A7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01742A-C2C4-4349-BA00-741293CB36A4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GB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0368699-BA99-E84F-AB32-4E762B32A26B}"/>
              </a:ext>
            </a:extLst>
          </p:cNvPr>
          <p:cNvSpPr/>
          <p:nvPr userDrawn="1"/>
        </p:nvSpPr>
        <p:spPr>
          <a:xfrm>
            <a:off x="0" y="0"/>
            <a:ext cx="3048000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4B5871-DB92-6F46-AA38-789E9F5528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2286000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/>
              <a:t>Key message. </a:t>
            </a:r>
            <a:br>
              <a:rPr lang="en-GB"/>
            </a:br>
            <a:r>
              <a:rPr lang="en-GB"/>
              <a:t>If the audience reads just this, it will be enough. Make every word count. Say it like you would in the room.</a:t>
            </a:r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28999" y="381000"/>
            <a:ext cx="8378825" cy="571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This is where you make your case with relevant evidence and information. Keep sentences concise. Avoid jargon and repetition.</a:t>
            </a:r>
          </a:p>
          <a:p>
            <a:pPr lvl="1"/>
            <a:r>
              <a:rPr lang="en-US" noProof="0"/>
              <a:t>Bullet 1: Second level</a:t>
            </a:r>
          </a:p>
          <a:p>
            <a:pPr lvl="2"/>
            <a:r>
              <a:rPr lang="en-US" noProof="0"/>
              <a:t>Bullet 2: Third level</a:t>
            </a:r>
          </a:p>
          <a:p>
            <a:pPr lvl="3"/>
            <a:r>
              <a:rPr lang="en-US" noProof="0"/>
              <a:t>Bullet 3: Fourth level</a:t>
            </a:r>
          </a:p>
          <a:p>
            <a:pPr lvl="4"/>
            <a:r>
              <a:rPr lang="en-US" noProof="0"/>
              <a:t>Bullet 4: Fifth leve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7B123F1-21A1-48A2-A775-C2EFC581200F}"/>
              </a:ext>
            </a:extLst>
          </p:cNvPr>
          <p:cNvSpPr txBox="1"/>
          <p:nvPr userDrawn="1"/>
        </p:nvSpPr>
        <p:spPr>
          <a:xfrm>
            <a:off x="11209338" y="6572250"/>
            <a:ext cx="598486" cy="1524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earney XX/ID</a:t>
            </a:r>
          </a:p>
        </p:txBody>
      </p:sp>
      <p:grpSp>
        <p:nvGrpSpPr>
          <p:cNvPr id="19" name="Graphic 19">
            <a:extLst>
              <a:ext uri="{FF2B5EF4-FFF2-40B4-BE49-F238E27FC236}">
                <a16:creationId xmlns:a16="http://schemas.microsoft.com/office/drawing/2014/main" id="{BF1BB8F7-8CC6-430A-B87E-567EFC10C2FE}"/>
              </a:ext>
            </a:extLst>
          </p:cNvPr>
          <p:cNvGrpSpPr/>
          <p:nvPr userDrawn="1"/>
        </p:nvGrpSpPr>
        <p:grpSpPr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20" name="Freeform 21">
              <a:extLst>
                <a:ext uri="{FF2B5EF4-FFF2-40B4-BE49-F238E27FC236}">
                  <a16:creationId xmlns:a16="http://schemas.microsoft.com/office/drawing/2014/main" id="{AF9DB104-C380-45AF-B05C-9E72C0B30BD8}"/>
                </a:ext>
              </a:extLst>
            </p:cNvPr>
            <p:cNvSpPr/>
            <p:nvPr/>
          </p:nvSpPr>
          <p:spPr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Freeform 22">
              <a:extLst>
                <a:ext uri="{FF2B5EF4-FFF2-40B4-BE49-F238E27FC236}">
                  <a16:creationId xmlns:a16="http://schemas.microsoft.com/office/drawing/2014/main" id="{F2FC0DA2-EAA9-48F3-BD2B-19926E58251F}"/>
                </a:ext>
              </a:extLst>
            </p:cNvPr>
            <p:cNvSpPr/>
            <p:nvPr/>
          </p:nvSpPr>
          <p:spPr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Freeform 23">
              <a:extLst>
                <a:ext uri="{FF2B5EF4-FFF2-40B4-BE49-F238E27FC236}">
                  <a16:creationId xmlns:a16="http://schemas.microsoft.com/office/drawing/2014/main" id="{6A4E13BD-56FE-407B-85E1-BAA8A93A61A1}"/>
                </a:ext>
              </a:extLst>
            </p:cNvPr>
            <p:cNvSpPr/>
            <p:nvPr/>
          </p:nvSpPr>
          <p:spPr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Freeform 24">
              <a:extLst>
                <a:ext uri="{FF2B5EF4-FFF2-40B4-BE49-F238E27FC236}">
                  <a16:creationId xmlns:a16="http://schemas.microsoft.com/office/drawing/2014/main" id="{1A8559EB-5B5E-4D28-986E-2607B66970CB}"/>
                </a:ext>
              </a:extLst>
            </p:cNvPr>
            <p:cNvSpPr/>
            <p:nvPr/>
          </p:nvSpPr>
          <p:spPr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Freeform 25">
              <a:extLst>
                <a:ext uri="{FF2B5EF4-FFF2-40B4-BE49-F238E27FC236}">
                  <a16:creationId xmlns:a16="http://schemas.microsoft.com/office/drawing/2014/main" id="{81D1B4B8-BD83-424E-9D5F-F870040EF346}"/>
                </a:ext>
              </a:extLst>
            </p:cNvPr>
            <p:cNvSpPr/>
            <p:nvPr/>
          </p:nvSpPr>
          <p:spPr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Freeform 26">
              <a:extLst>
                <a:ext uri="{FF2B5EF4-FFF2-40B4-BE49-F238E27FC236}">
                  <a16:creationId xmlns:a16="http://schemas.microsoft.com/office/drawing/2014/main" id="{D51EDEC6-9E60-41CA-B9BF-F4C34B82C211}"/>
                </a:ext>
              </a:extLst>
            </p:cNvPr>
            <p:cNvSpPr/>
            <p:nvPr/>
          </p:nvSpPr>
          <p:spPr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1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Freeform 27">
              <a:extLst>
                <a:ext uri="{FF2B5EF4-FFF2-40B4-BE49-F238E27FC236}">
                  <a16:creationId xmlns:a16="http://schemas.microsoft.com/office/drawing/2014/main" id="{8BD00409-6988-41CF-8D29-FE8F1658B86D}"/>
                </a:ext>
              </a:extLst>
            </p:cNvPr>
            <p:cNvSpPr/>
            <p:nvPr/>
          </p:nvSpPr>
          <p:spPr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FBD2AA55-AD71-458E-AB53-14B489582B00}"/>
              </a:ext>
            </a:extLst>
          </p:cNvPr>
          <p:cNvSpPr txBox="1"/>
          <p:nvPr userDrawn="1"/>
        </p:nvSpPr>
        <p:spPr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26707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81" r:id="rId19"/>
    <p:sldLayoutId id="2147483680" r:id="rId20"/>
    <p:sldLayoutId id="2147483682" r:id="rId21"/>
    <p:sldLayoutId id="2147483754" r:id="rId22"/>
    <p:sldLayoutId id="2147483755" r:id="rId23"/>
    <p:sldLayoutId id="2147483756" r:id="rId24"/>
  </p:sldLayoutIdLst>
  <p:transition/>
  <p:hf hdr="0" ftr="0" dt="0"/>
  <p:txStyles>
    <p:titleStyle>
      <a:lvl1pPr marL="0" algn="l" defTabSz="914400" rtl="0" eaLnBrk="1" latinLnBrk="0" hangingPunct="1">
        <a:lnSpc>
          <a:spcPct val="90000"/>
        </a:lnSpc>
        <a:spcBef>
          <a:spcPct val="0"/>
        </a:spcBef>
        <a:spcAft>
          <a:spcPct val="0"/>
        </a:spcAft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US" sz="1400" kern="1200" noProof="0" smtClean="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90000"/>
        </a:lnSpc>
        <a:spcBef>
          <a:spcPct val="0"/>
        </a:spcBef>
        <a:spcAft>
          <a:spcPts val="600"/>
        </a:spcAft>
        <a:buFont typeface="System Font Regular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90000"/>
        </a:lnSpc>
        <a:spcBef>
          <a:spcPct val="0"/>
        </a:spcBef>
        <a:spcAft>
          <a:spcPts val="600"/>
        </a:spcAft>
        <a:buFont typeface="System Font Regular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90000"/>
        </a:lnSpc>
        <a:spcBef>
          <a:spcPct val="0"/>
        </a:spcBef>
        <a:spcAft>
          <a:spcPts val="600"/>
        </a:spcAft>
        <a:buFont typeface="System Font Regular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90000"/>
        </a:lnSpc>
        <a:spcBef>
          <a:spcPct val="0"/>
        </a:spcBef>
        <a:spcAft>
          <a:spcPts val="600"/>
        </a:spcAft>
        <a:buFont typeface="System Font Regular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 userDrawn="1">
          <p15:clr>
            <a:srgbClr val="B4B4B4"/>
          </p15:clr>
        </p15:guide>
        <p15:guide id="2" orient="horz" pos="480" userDrawn="1">
          <p15:clr>
            <a:srgbClr val="B4B4B4"/>
          </p15:clr>
        </p15:guide>
        <p15:guide id="3" orient="horz" pos="720" userDrawn="1">
          <p15:clr>
            <a:srgbClr val="B4B4B4"/>
          </p15:clr>
        </p15:guide>
        <p15:guide id="4" orient="horz" pos="960" userDrawn="1">
          <p15:clr>
            <a:srgbClr val="B4B4B4"/>
          </p15:clr>
        </p15:guide>
        <p15:guide id="5" orient="horz" pos="1200" userDrawn="1">
          <p15:clr>
            <a:srgbClr val="B4B4B4"/>
          </p15:clr>
        </p15:guide>
        <p15:guide id="6" orient="horz" pos="1440" userDrawn="1">
          <p15:clr>
            <a:srgbClr val="B4B4B4"/>
          </p15:clr>
        </p15:guide>
        <p15:guide id="7" orient="horz" pos="1680" userDrawn="1">
          <p15:clr>
            <a:srgbClr val="B4B4B4"/>
          </p15:clr>
        </p15:guide>
        <p15:guide id="8" orient="horz" pos="1920" userDrawn="1">
          <p15:clr>
            <a:srgbClr val="B4B4B4"/>
          </p15:clr>
        </p15:guide>
        <p15:guide id="9" orient="horz" pos="2160" userDrawn="1">
          <p15:clr>
            <a:srgbClr val="B4B4B4"/>
          </p15:clr>
        </p15:guide>
        <p15:guide id="10" orient="horz" pos="2400" userDrawn="1">
          <p15:clr>
            <a:srgbClr val="B4B4B4"/>
          </p15:clr>
        </p15:guide>
        <p15:guide id="11" orient="horz" pos="2640" userDrawn="1">
          <p15:clr>
            <a:srgbClr val="B4B4B4"/>
          </p15:clr>
        </p15:guide>
        <p15:guide id="12" orient="horz" pos="2880" userDrawn="1">
          <p15:clr>
            <a:srgbClr val="B4B4B4"/>
          </p15:clr>
        </p15:guide>
        <p15:guide id="13" orient="horz" pos="3120" userDrawn="1">
          <p15:clr>
            <a:srgbClr val="B4B4B4"/>
          </p15:clr>
        </p15:guide>
        <p15:guide id="14" orient="horz" pos="3360" userDrawn="1">
          <p15:clr>
            <a:srgbClr val="B4B4B4"/>
          </p15:clr>
        </p15:guide>
        <p15:guide id="15" orient="horz" pos="3600" userDrawn="1">
          <p15:clr>
            <a:srgbClr val="B4B4B4"/>
          </p15:clr>
        </p15:guide>
        <p15:guide id="16" orient="horz" pos="3840" userDrawn="1">
          <p15:clr>
            <a:srgbClr val="B4B4B4"/>
          </p15:clr>
        </p15:guide>
        <p15:guide id="17" orient="horz" pos="4080" userDrawn="1">
          <p15:clr>
            <a:srgbClr val="B4B4B4"/>
          </p15:clr>
        </p15:guide>
        <p15:guide id="18" orient="horz" pos="4320" userDrawn="1">
          <p15:clr>
            <a:srgbClr val="B4B4B4"/>
          </p15:clr>
        </p15:guide>
        <p15:guide id="19" pos="240" userDrawn="1">
          <p15:clr>
            <a:srgbClr val="B4B4B4"/>
          </p15:clr>
        </p15:guide>
        <p15:guide id="20" pos="480" userDrawn="1">
          <p15:clr>
            <a:srgbClr val="B4B4B4"/>
          </p15:clr>
        </p15:guide>
        <p15:guide id="21" pos="720" userDrawn="1">
          <p15:clr>
            <a:srgbClr val="B4B4B4"/>
          </p15:clr>
        </p15:guide>
        <p15:guide id="22" pos="960" userDrawn="1">
          <p15:clr>
            <a:srgbClr val="B4B4B4"/>
          </p15:clr>
        </p15:guide>
        <p15:guide id="23" pos="1200" userDrawn="1">
          <p15:clr>
            <a:srgbClr val="B4B4B4"/>
          </p15:clr>
        </p15:guide>
        <p15:guide id="24" pos="1440" userDrawn="1">
          <p15:clr>
            <a:srgbClr val="B4B4B4"/>
          </p15:clr>
        </p15:guide>
        <p15:guide id="25" pos="1680" userDrawn="1">
          <p15:clr>
            <a:srgbClr val="B4B4B4"/>
          </p15:clr>
        </p15:guide>
        <p15:guide id="26" pos="1920" userDrawn="1">
          <p15:clr>
            <a:srgbClr val="B4B4B4"/>
          </p15:clr>
        </p15:guide>
        <p15:guide id="27" pos="2160" userDrawn="1">
          <p15:clr>
            <a:srgbClr val="B4B4B4"/>
          </p15:clr>
        </p15:guide>
        <p15:guide id="28" pos="2400" userDrawn="1">
          <p15:clr>
            <a:srgbClr val="B4B4B4"/>
          </p15:clr>
        </p15:guide>
        <p15:guide id="29" pos="2640" userDrawn="1">
          <p15:clr>
            <a:srgbClr val="B4B4B4"/>
          </p15:clr>
        </p15:guide>
        <p15:guide id="30" pos="2880" userDrawn="1">
          <p15:clr>
            <a:srgbClr val="B4B4B4"/>
          </p15:clr>
        </p15:guide>
        <p15:guide id="31" pos="3120" userDrawn="1">
          <p15:clr>
            <a:srgbClr val="B4B4B4"/>
          </p15:clr>
        </p15:guide>
        <p15:guide id="32" pos="3360" userDrawn="1">
          <p15:clr>
            <a:srgbClr val="B4B4B4"/>
          </p15:clr>
        </p15:guide>
        <p15:guide id="33" pos="3600" userDrawn="1">
          <p15:clr>
            <a:srgbClr val="B4B4B4"/>
          </p15:clr>
        </p15:guide>
        <p15:guide id="34" pos="3840" userDrawn="1">
          <p15:clr>
            <a:srgbClr val="B4B4B4"/>
          </p15:clr>
        </p15:guide>
        <p15:guide id="35" pos="4080" userDrawn="1">
          <p15:clr>
            <a:srgbClr val="B4B4B4"/>
          </p15:clr>
        </p15:guide>
        <p15:guide id="36" pos="4320" userDrawn="1">
          <p15:clr>
            <a:srgbClr val="B4B4B4"/>
          </p15:clr>
        </p15:guide>
        <p15:guide id="37" pos="4560" userDrawn="1">
          <p15:clr>
            <a:srgbClr val="B4B4B4"/>
          </p15:clr>
        </p15:guide>
        <p15:guide id="38" pos="4800" userDrawn="1">
          <p15:clr>
            <a:srgbClr val="B4B4B4"/>
          </p15:clr>
        </p15:guide>
        <p15:guide id="39" pos="5040" userDrawn="1">
          <p15:clr>
            <a:srgbClr val="B4B4B4"/>
          </p15:clr>
        </p15:guide>
        <p15:guide id="40" pos="5280" userDrawn="1">
          <p15:clr>
            <a:srgbClr val="B4B4B4"/>
          </p15:clr>
        </p15:guide>
        <p15:guide id="41" pos="5520" userDrawn="1">
          <p15:clr>
            <a:srgbClr val="B4B4B4"/>
          </p15:clr>
        </p15:guide>
        <p15:guide id="42" pos="5760" userDrawn="1">
          <p15:clr>
            <a:srgbClr val="B4B4B4"/>
          </p15:clr>
        </p15:guide>
        <p15:guide id="43" pos="6000" userDrawn="1">
          <p15:clr>
            <a:srgbClr val="B4B4B4"/>
          </p15:clr>
        </p15:guide>
        <p15:guide id="44" pos="6240" userDrawn="1">
          <p15:clr>
            <a:srgbClr val="B4B4B4"/>
          </p15:clr>
        </p15:guide>
        <p15:guide id="45" pos="6480" userDrawn="1">
          <p15:clr>
            <a:srgbClr val="B4B4B4"/>
          </p15:clr>
        </p15:guide>
        <p15:guide id="46" pos="6720" userDrawn="1">
          <p15:clr>
            <a:srgbClr val="B4B4B4"/>
          </p15:clr>
        </p15:guide>
        <p15:guide id="47" pos="6960" userDrawn="1">
          <p15:clr>
            <a:srgbClr val="B4B4B4"/>
          </p15:clr>
        </p15:guide>
        <p15:guide id="48" pos="7200" userDrawn="1">
          <p15:clr>
            <a:srgbClr val="B4B4B4"/>
          </p15:clr>
        </p15:guide>
        <p15:guide id="49" pos="7440" userDrawn="1">
          <p15:clr>
            <a:srgbClr val="B4B4B4"/>
          </p15:clr>
        </p15:guide>
        <p15:guide id="50" pos="7680" userDrawn="1">
          <p15:clr>
            <a:srgbClr val="B4B4B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D1BB6C3-85C0-4D78-A335-487D253A70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543732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73" imgH="473" progId="TCLayout.ActiveDocument.1">
                  <p:embed/>
                </p:oleObj>
              </mc:Choice>
              <mc:Fallback>
                <p:oleObj name="think-cell Slide" r:id="rId2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D1BB6C3-85C0-4D78-A335-487D253A7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01742A-C2C4-4349-BA00-741293CB36A4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GB" sz="20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0368699-BA99-E84F-AB32-4E762B32A26B}"/>
              </a:ext>
            </a:extLst>
          </p:cNvPr>
          <p:cNvSpPr/>
          <p:nvPr userDrawn="1"/>
        </p:nvSpPr>
        <p:spPr>
          <a:xfrm>
            <a:off x="0" y="0"/>
            <a:ext cx="3048000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4B5871-DB92-6F46-AA38-789E9F5528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2286000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dirty="0"/>
              <a:t>Key message. </a:t>
            </a:r>
            <a:br>
              <a:rPr lang="en-GB" dirty="0"/>
            </a:br>
            <a:r>
              <a:rPr lang="en-GB" dirty="0"/>
              <a:t>If the audience reads just this, it will be enough. Make every word count. Say it like you would in the room.</a:t>
            </a:r>
            <a:endParaRPr lang="en-US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28999" y="381000"/>
            <a:ext cx="8378825" cy="571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This is where you make your case with relevant evidence and information. Keep sentences concise. Avoid jargon and repetition.</a:t>
            </a:r>
          </a:p>
          <a:p>
            <a:pPr lvl="1"/>
            <a:r>
              <a:rPr lang="en-US" noProof="0" dirty="0"/>
              <a:t>Bullet 1: Second level</a:t>
            </a:r>
          </a:p>
          <a:p>
            <a:pPr lvl="2"/>
            <a:r>
              <a:rPr lang="en-US" noProof="0" dirty="0"/>
              <a:t>Bullet 2: Third level</a:t>
            </a:r>
          </a:p>
          <a:p>
            <a:pPr lvl="3"/>
            <a:r>
              <a:rPr lang="en-US" noProof="0" dirty="0"/>
              <a:t>Bullet 3: Fourth level</a:t>
            </a:r>
          </a:p>
          <a:p>
            <a:pPr lvl="4"/>
            <a:r>
              <a:rPr lang="en-US" noProof="0" dirty="0"/>
              <a:t>Bullet 4: Fifth leve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7B123F1-21A1-48A2-A775-C2EFC581200F}"/>
              </a:ext>
            </a:extLst>
          </p:cNvPr>
          <p:cNvSpPr txBox="1"/>
          <p:nvPr userDrawn="1"/>
        </p:nvSpPr>
        <p:spPr>
          <a:xfrm>
            <a:off x="11209338" y="6572250"/>
            <a:ext cx="598486" cy="1524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earney XX/ID</a:t>
            </a:r>
          </a:p>
        </p:txBody>
      </p:sp>
      <p:grpSp>
        <p:nvGrpSpPr>
          <p:cNvPr id="19" name="Graphic 19">
            <a:extLst>
              <a:ext uri="{FF2B5EF4-FFF2-40B4-BE49-F238E27FC236}">
                <a16:creationId xmlns:a16="http://schemas.microsoft.com/office/drawing/2014/main" id="{BF1BB8F7-8CC6-430A-B87E-567EFC10C2FE}"/>
              </a:ext>
            </a:extLst>
          </p:cNvPr>
          <p:cNvGrpSpPr/>
          <p:nvPr userDrawn="1"/>
        </p:nvGrpSpPr>
        <p:grpSpPr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20" name="Freeform 21">
              <a:extLst>
                <a:ext uri="{FF2B5EF4-FFF2-40B4-BE49-F238E27FC236}">
                  <a16:creationId xmlns:a16="http://schemas.microsoft.com/office/drawing/2014/main" id="{AF9DB104-C380-45AF-B05C-9E72C0B30BD8}"/>
                </a:ext>
              </a:extLst>
            </p:cNvPr>
            <p:cNvSpPr/>
            <p:nvPr/>
          </p:nvSpPr>
          <p:spPr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" name="Freeform 22">
              <a:extLst>
                <a:ext uri="{FF2B5EF4-FFF2-40B4-BE49-F238E27FC236}">
                  <a16:creationId xmlns:a16="http://schemas.microsoft.com/office/drawing/2014/main" id="{F2FC0DA2-EAA9-48F3-BD2B-19926E58251F}"/>
                </a:ext>
              </a:extLst>
            </p:cNvPr>
            <p:cNvSpPr/>
            <p:nvPr/>
          </p:nvSpPr>
          <p:spPr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Freeform 23">
              <a:extLst>
                <a:ext uri="{FF2B5EF4-FFF2-40B4-BE49-F238E27FC236}">
                  <a16:creationId xmlns:a16="http://schemas.microsoft.com/office/drawing/2014/main" id="{6A4E13BD-56FE-407B-85E1-BAA8A93A61A1}"/>
                </a:ext>
              </a:extLst>
            </p:cNvPr>
            <p:cNvSpPr/>
            <p:nvPr/>
          </p:nvSpPr>
          <p:spPr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" name="Freeform 24">
              <a:extLst>
                <a:ext uri="{FF2B5EF4-FFF2-40B4-BE49-F238E27FC236}">
                  <a16:creationId xmlns:a16="http://schemas.microsoft.com/office/drawing/2014/main" id="{1A8559EB-5B5E-4D28-986E-2607B66970CB}"/>
                </a:ext>
              </a:extLst>
            </p:cNvPr>
            <p:cNvSpPr/>
            <p:nvPr/>
          </p:nvSpPr>
          <p:spPr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" name="Freeform 25">
              <a:extLst>
                <a:ext uri="{FF2B5EF4-FFF2-40B4-BE49-F238E27FC236}">
                  <a16:creationId xmlns:a16="http://schemas.microsoft.com/office/drawing/2014/main" id="{81D1B4B8-BD83-424E-9D5F-F870040EF346}"/>
                </a:ext>
              </a:extLst>
            </p:cNvPr>
            <p:cNvSpPr/>
            <p:nvPr/>
          </p:nvSpPr>
          <p:spPr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" name="Freeform 26">
              <a:extLst>
                <a:ext uri="{FF2B5EF4-FFF2-40B4-BE49-F238E27FC236}">
                  <a16:creationId xmlns:a16="http://schemas.microsoft.com/office/drawing/2014/main" id="{D51EDEC6-9E60-41CA-B9BF-F4C34B82C211}"/>
                </a:ext>
              </a:extLst>
            </p:cNvPr>
            <p:cNvSpPr/>
            <p:nvPr/>
          </p:nvSpPr>
          <p:spPr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" name="Freeform 27">
              <a:extLst>
                <a:ext uri="{FF2B5EF4-FFF2-40B4-BE49-F238E27FC236}">
                  <a16:creationId xmlns:a16="http://schemas.microsoft.com/office/drawing/2014/main" id="{8BD00409-6988-41CF-8D29-FE8F1658B86D}"/>
                </a:ext>
              </a:extLst>
            </p:cNvPr>
            <p:cNvSpPr/>
            <p:nvPr/>
          </p:nvSpPr>
          <p:spPr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FBD2AA55-AD71-458E-AB53-14B489582B00}"/>
              </a:ext>
            </a:extLst>
          </p:cNvPr>
          <p:cNvSpPr txBox="1"/>
          <p:nvPr userDrawn="1"/>
        </p:nvSpPr>
        <p:spPr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 dirty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05720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</p:sldLayoutIdLst>
  <p:hf hdr="0" ftr="0" dt="0"/>
  <p:txStyles>
    <p:titleStyle>
      <a:lvl1pPr marL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B4B4B4"/>
          </p15:clr>
        </p15:guide>
        <p15:guide id="2" orient="horz" pos="480">
          <p15:clr>
            <a:srgbClr val="B4B4B4"/>
          </p15:clr>
        </p15:guide>
        <p15:guide id="3" orient="horz" pos="720">
          <p15:clr>
            <a:srgbClr val="B4B4B4"/>
          </p15:clr>
        </p15:guide>
        <p15:guide id="4" orient="horz" pos="960">
          <p15:clr>
            <a:srgbClr val="B4B4B4"/>
          </p15:clr>
        </p15:guide>
        <p15:guide id="5" orient="horz" pos="1200">
          <p15:clr>
            <a:srgbClr val="B4B4B4"/>
          </p15:clr>
        </p15:guide>
        <p15:guide id="6" orient="horz" pos="1440">
          <p15:clr>
            <a:srgbClr val="B4B4B4"/>
          </p15:clr>
        </p15:guide>
        <p15:guide id="7" orient="horz" pos="1680">
          <p15:clr>
            <a:srgbClr val="B4B4B4"/>
          </p15:clr>
        </p15:guide>
        <p15:guide id="8" orient="horz" pos="1920">
          <p15:clr>
            <a:srgbClr val="B4B4B4"/>
          </p15:clr>
        </p15:guide>
        <p15:guide id="9" orient="horz" pos="2160">
          <p15:clr>
            <a:srgbClr val="B4B4B4"/>
          </p15:clr>
        </p15:guide>
        <p15:guide id="10" orient="horz" pos="2400">
          <p15:clr>
            <a:srgbClr val="B4B4B4"/>
          </p15:clr>
        </p15:guide>
        <p15:guide id="11" orient="horz" pos="2640">
          <p15:clr>
            <a:srgbClr val="B4B4B4"/>
          </p15:clr>
        </p15:guide>
        <p15:guide id="12" orient="horz" pos="2880">
          <p15:clr>
            <a:srgbClr val="B4B4B4"/>
          </p15:clr>
        </p15:guide>
        <p15:guide id="13" orient="horz" pos="3120">
          <p15:clr>
            <a:srgbClr val="B4B4B4"/>
          </p15:clr>
        </p15:guide>
        <p15:guide id="14" orient="horz" pos="3360">
          <p15:clr>
            <a:srgbClr val="B4B4B4"/>
          </p15:clr>
        </p15:guide>
        <p15:guide id="15" orient="horz" pos="3600">
          <p15:clr>
            <a:srgbClr val="B4B4B4"/>
          </p15:clr>
        </p15:guide>
        <p15:guide id="16" orient="horz" pos="3840">
          <p15:clr>
            <a:srgbClr val="B4B4B4"/>
          </p15:clr>
        </p15:guide>
        <p15:guide id="17" orient="horz" pos="4080">
          <p15:clr>
            <a:srgbClr val="B4B4B4"/>
          </p15:clr>
        </p15:guide>
        <p15:guide id="18" orient="horz" pos="4320">
          <p15:clr>
            <a:srgbClr val="B4B4B4"/>
          </p15:clr>
        </p15:guide>
        <p15:guide id="19" pos="240">
          <p15:clr>
            <a:srgbClr val="B4B4B4"/>
          </p15:clr>
        </p15:guide>
        <p15:guide id="20" pos="480">
          <p15:clr>
            <a:srgbClr val="B4B4B4"/>
          </p15:clr>
        </p15:guide>
        <p15:guide id="21" pos="720">
          <p15:clr>
            <a:srgbClr val="B4B4B4"/>
          </p15:clr>
        </p15:guide>
        <p15:guide id="22" pos="960">
          <p15:clr>
            <a:srgbClr val="B4B4B4"/>
          </p15:clr>
        </p15:guide>
        <p15:guide id="23" pos="1200">
          <p15:clr>
            <a:srgbClr val="B4B4B4"/>
          </p15:clr>
        </p15:guide>
        <p15:guide id="24" pos="1440">
          <p15:clr>
            <a:srgbClr val="B4B4B4"/>
          </p15:clr>
        </p15:guide>
        <p15:guide id="25" pos="1680">
          <p15:clr>
            <a:srgbClr val="B4B4B4"/>
          </p15:clr>
        </p15:guide>
        <p15:guide id="26" pos="1920">
          <p15:clr>
            <a:srgbClr val="B4B4B4"/>
          </p15:clr>
        </p15:guide>
        <p15:guide id="27" pos="2160">
          <p15:clr>
            <a:srgbClr val="B4B4B4"/>
          </p15:clr>
        </p15:guide>
        <p15:guide id="28" pos="2400">
          <p15:clr>
            <a:srgbClr val="B4B4B4"/>
          </p15:clr>
        </p15:guide>
        <p15:guide id="29" pos="2640">
          <p15:clr>
            <a:srgbClr val="B4B4B4"/>
          </p15:clr>
        </p15:guide>
        <p15:guide id="30" pos="2880">
          <p15:clr>
            <a:srgbClr val="B4B4B4"/>
          </p15:clr>
        </p15:guide>
        <p15:guide id="31" pos="3120">
          <p15:clr>
            <a:srgbClr val="B4B4B4"/>
          </p15:clr>
        </p15:guide>
        <p15:guide id="32" pos="3360">
          <p15:clr>
            <a:srgbClr val="B4B4B4"/>
          </p15:clr>
        </p15:guide>
        <p15:guide id="33" pos="3600">
          <p15:clr>
            <a:srgbClr val="B4B4B4"/>
          </p15:clr>
        </p15:guide>
        <p15:guide id="34" pos="3840">
          <p15:clr>
            <a:srgbClr val="B4B4B4"/>
          </p15:clr>
        </p15:guide>
        <p15:guide id="35" pos="4080">
          <p15:clr>
            <a:srgbClr val="B4B4B4"/>
          </p15:clr>
        </p15:guide>
        <p15:guide id="36" pos="4320">
          <p15:clr>
            <a:srgbClr val="B4B4B4"/>
          </p15:clr>
        </p15:guide>
        <p15:guide id="37" pos="4560">
          <p15:clr>
            <a:srgbClr val="B4B4B4"/>
          </p15:clr>
        </p15:guide>
        <p15:guide id="38" pos="4800">
          <p15:clr>
            <a:srgbClr val="B4B4B4"/>
          </p15:clr>
        </p15:guide>
        <p15:guide id="39" pos="5040">
          <p15:clr>
            <a:srgbClr val="B4B4B4"/>
          </p15:clr>
        </p15:guide>
        <p15:guide id="40" pos="5280">
          <p15:clr>
            <a:srgbClr val="B4B4B4"/>
          </p15:clr>
        </p15:guide>
        <p15:guide id="41" pos="5520">
          <p15:clr>
            <a:srgbClr val="B4B4B4"/>
          </p15:clr>
        </p15:guide>
        <p15:guide id="42" pos="5760">
          <p15:clr>
            <a:srgbClr val="B4B4B4"/>
          </p15:clr>
        </p15:guide>
        <p15:guide id="43" pos="6000">
          <p15:clr>
            <a:srgbClr val="B4B4B4"/>
          </p15:clr>
        </p15:guide>
        <p15:guide id="44" pos="6240">
          <p15:clr>
            <a:srgbClr val="B4B4B4"/>
          </p15:clr>
        </p15:guide>
        <p15:guide id="45" pos="6480">
          <p15:clr>
            <a:srgbClr val="B4B4B4"/>
          </p15:clr>
        </p15:guide>
        <p15:guide id="46" pos="6720">
          <p15:clr>
            <a:srgbClr val="B4B4B4"/>
          </p15:clr>
        </p15:guide>
        <p15:guide id="47" pos="6960">
          <p15:clr>
            <a:srgbClr val="B4B4B4"/>
          </p15:clr>
        </p15:guide>
        <p15:guide id="48" pos="7200">
          <p15:clr>
            <a:srgbClr val="B4B4B4"/>
          </p15:clr>
        </p15:guide>
        <p15:guide id="49" pos="7440">
          <p15:clr>
            <a:srgbClr val="B4B4B4"/>
          </p15:clr>
        </p15:guide>
        <p15:guide id="50" pos="7680">
          <p15:clr>
            <a:srgbClr val="B4B4B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D1BB6C3-85C0-4D78-A335-487D253A70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939890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73" imgH="473" progId="TCLayout.ActiveDocument.1">
                  <p:embed/>
                </p:oleObj>
              </mc:Choice>
              <mc:Fallback>
                <p:oleObj name="think-cell Slide" r:id="rId2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D1BB6C3-85C0-4D78-A335-487D253A7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01742A-C2C4-4349-BA00-741293CB36A4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0368699-BA99-E84F-AB32-4E762B32A26B}"/>
              </a:ext>
            </a:extLst>
          </p:cNvPr>
          <p:cNvSpPr/>
          <p:nvPr userDrawn="1"/>
        </p:nvSpPr>
        <p:spPr>
          <a:xfrm>
            <a:off x="0" y="0"/>
            <a:ext cx="3048000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4B5871-DB92-6F46-AA38-789E9F5528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2286000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US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28999" y="381000"/>
            <a:ext cx="8378825" cy="571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This is where you make your case with relevant evidence and information. Keep sentences concise. Avoid jargon and repetition.</a:t>
            </a:r>
          </a:p>
          <a:p>
            <a:pPr lvl="1"/>
            <a:r>
              <a:rPr lang="en-US" noProof="0" dirty="0"/>
              <a:t>Bullet 1: Second level</a:t>
            </a:r>
          </a:p>
          <a:p>
            <a:pPr lvl="2"/>
            <a:r>
              <a:rPr lang="en-US" noProof="0" dirty="0"/>
              <a:t>Bullet 2: Third level</a:t>
            </a:r>
          </a:p>
          <a:p>
            <a:pPr lvl="3"/>
            <a:r>
              <a:rPr lang="en-US" noProof="0" dirty="0"/>
              <a:t>Bullet 3: Fourth level</a:t>
            </a:r>
          </a:p>
          <a:p>
            <a:pPr lvl="4"/>
            <a:r>
              <a:rPr lang="en-US" noProof="0" dirty="0"/>
              <a:t>Bullet 4: Fifth level</a:t>
            </a:r>
          </a:p>
        </p:txBody>
      </p:sp>
      <p:grpSp>
        <p:nvGrpSpPr>
          <p:cNvPr id="19" name="Graphic 19">
            <a:extLst>
              <a:ext uri="{FF2B5EF4-FFF2-40B4-BE49-F238E27FC236}">
                <a16:creationId xmlns:a16="http://schemas.microsoft.com/office/drawing/2014/main" id="{BF1BB8F7-8CC6-430A-B87E-567EFC10C2FE}"/>
              </a:ext>
            </a:extLst>
          </p:cNvPr>
          <p:cNvGrpSpPr/>
          <p:nvPr userDrawn="1"/>
        </p:nvGrpSpPr>
        <p:grpSpPr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20" name="Freeform 21">
              <a:extLst>
                <a:ext uri="{FF2B5EF4-FFF2-40B4-BE49-F238E27FC236}">
                  <a16:creationId xmlns:a16="http://schemas.microsoft.com/office/drawing/2014/main" id="{AF9DB104-C380-45AF-B05C-9E72C0B30BD8}"/>
                </a:ext>
              </a:extLst>
            </p:cNvPr>
            <p:cNvSpPr/>
            <p:nvPr/>
          </p:nvSpPr>
          <p:spPr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" name="Freeform 22">
              <a:extLst>
                <a:ext uri="{FF2B5EF4-FFF2-40B4-BE49-F238E27FC236}">
                  <a16:creationId xmlns:a16="http://schemas.microsoft.com/office/drawing/2014/main" id="{F2FC0DA2-EAA9-48F3-BD2B-19926E58251F}"/>
                </a:ext>
              </a:extLst>
            </p:cNvPr>
            <p:cNvSpPr/>
            <p:nvPr/>
          </p:nvSpPr>
          <p:spPr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Freeform 23">
              <a:extLst>
                <a:ext uri="{FF2B5EF4-FFF2-40B4-BE49-F238E27FC236}">
                  <a16:creationId xmlns:a16="http://schemas.microsoft.com/office/drawing/2014/main" id="{6A4E13BD-56FE-407B-85E1-BAA8A93A61A1}"/>
                </a:ext>
              </a:extLst>
            </p:cNvPr>
            <p:cNvSpPr/>
            <p:nvPr/>
          </p:nvSpPr>
          <p:spPr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" name="Freeform 24">
              <a:extLst>
                <a:ext uri="{FF2B5EF4-FFF2-40B4-BE49-F238E27FC236}">
                  <a16:creationId xmlns:a16="http://schemas.microsoft.com/office/drawing/2014/main" id="{1A8559EB-5B5E-4D28-986E-2607B66970CB}"/>
                </a:ext>
              </a:extLst>
            </p:cNvPr>
            <p:cNvSpPr/>
            <p:nvPr/>
          </p:nvSpPr>
          <p:spPr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" name="Freeform 25">
              <a:extLst>
                <a:ext uri="{FF2B5EF4-FFF2-40B4-BE49-F238E27FC236}">
                  <a16:creationId xmlns:a16="http://schemas.microsoft.com/office/drawing/2014/main" id="{81D1B4B8-BD83-424E-9D5F-F870040EF346}"/>
                </a:ext>
              </a:extLst>
            </p:cNvPr>
            <p:cNvSpPr/>
            <p:nvPr/>
          </p:nvSpPr>
          <p:spPr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" name="Freeform 26">
              <a:extLst>
                <a:ext uri="{FF2B5EF4-FFF2-40B4-BE49-F238E27FC236}">
                  <a16:creationId xmlns:a16="http://schemas.microsoft.com/office/drawing/2014/main" id="{D51EDEC6-9E60-41CA-B9BF-F4C34B82C211}"/>
                </a:ext>
              </a:extLst>
            </p:cNvPr>
            <p:cNvSpPr/>
            <p:nvPr/>
          </p:nvSpPr>
          <p:spPr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" name="Freeform 27">
              <a:extLst>
                <a:ext uri="{FF2B5EF4-FFF2-40B4-BE49-F238E27FC236}">
                  <a16:creationId xmlns:a16="http://schemas.microsoft.com/office/drawing/2014/main" id="{8BD00409-6988-41CF-8D29-FE8F1658B86D}"/>
                </a:ext>
              </a:extLst>
            </p:cNvPr>
            <p:cNvSpPr/>
            <p:nvPr/>
          </p:nvSpPr>
          <p:spPr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FBD2AA55-AD71-458E-AB53-14B489582B00}"/>
              </a:ext>
            </a:extLst>
          </p:cNvPr>
          <p:cNvSpPr txBox="1"/>
          <p:nvPr userDrawn="1"/>
        </p:nvSpPr>
        <p:spPr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 dirty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4250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744" r:id="rId12"/>
    <p:sldLayoutId id="2147483745" r:id="rId13"/>
    <p:sldLayoutId id="2147483746" r:id="rId14"/>
    <p:sldLayoutId id="2147483747" r:id="rId15"/>
    <p:sldLayoutId id="2147483748" r:id="rId16"/>
    <p:sldLayoutId id="2147483749" r:id="rId17"/>
    <p:sldLayoutId id="2147483750" r:id="rId18"/>
    <p:sldLayoutId id="2147483751" r:id="rId19"/>
    <p:sldLayoutId id="2147483752" r:id="rId20"/>
    <p:sldLayoutId id="2147483753" r:id="rId21"/>
  </p:sldLayoutIdLst>
  <p:hf hdr="0" ftr="0" dt="0"/>
  <p:txStyles>
    <p:titleStyle>
      <a:lvl1pPr marL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B4B4B4"/>
          </p15:clr>
        </p15:guide>
        <p15:guide id="2" orient="horz" pos="480">
          <p15:clr>
            <a:srgbClr val="B4B4B4"/>
          </p15:clr>
        </p15:guide>
        <p15:guide id="3" orient="horz" pos="720">
          <p15:clr>
            <a:srgbClr val="B4B4B4"/>
          </p15:clr>
        </p15:guide>
        <p15:guide id="4" orient="horz" pos="960">
          <p15:clr>
            <a:srgbClr val="B4B4B4"/>
          </p15:clr>
        </p15:guide>
        <p15:guide id="5" orient="horz" pos="1200">
          <p15:clr>
            <a:srgbClr val="B4B4B4"/>
          </p15:clr>
        </p15:guide>
        <p15:guide id="6" orient="horz" pos="1440">
          <p15:clr>
            <a:srgbClr val="B4B4B4"/>
          </p15:clr>
        </p15:guide>
        <p15:guide id="7" orient="horz" pos="1680">
          <p15:clr>
            <a:srgbClr val="B4B4B4"/>
          </p15:clr>
        </p15:guide>
        <p15:guide id="8" orient="horz" pos="1920">
          <p15:clr>
            <a:srgbClr val="B4B4B4"/>
          </p15:clr>
        </p15:guide>
        <p15:guide id="9" orient="horz" pos="2160">
          <p15:clr>
            <a:srgbClr val="B4B4B4"/>
          </p15:clr>
        </p15:guide>
        <p15:guide id="10" orient="horz" pos="2400">
          <p15:clr>
            <a:srgbClr val="B4B4B4"/>
          </p15:clr>
        </p15:guide>
        <p15:guide id="11" orient="horz" pos="2640">
          <p15:clr>
            <a:srgbClr val="B4B4B4"/>
          </p15:clr>
        </p15:guide>
        <p15:guide id="12" orient="horz" pos="2880">
          <p15:clr>
            <a:srgbClr val="B4B4B4"/>
          </p15:clr>
        </p15:guide>
        <p15:guide id="13" orient="horz" pos="3120">
          <p15:clr>
            <a:srgbClr val="B4B4B4"/>
          </p15:clr>
        </p15:guide>
        <p15:guide id="14" orient="horz" pos="3360">
          <p15:clr>
            <a:srgbClr val="B4B4B4"/>
          </p15:clr>
        </p15:guide>
        <p15:guide id="15" orient="horz" pos="3600">
          <p15:clr>
            <a:srgbClr val="B4B4B4"/>
          </p15:clr>
        </p15:guide>
        <p15:guide id="16" orient="horz" pos="3840">
          <p15:clr>
            <a:srgbClr val="B4B4B4"/>
          </p15:clr>
        </p15:guide>
        <p15:guide id="17" orient="horz" pos="4080">
          <p15:clr>
            <a:srgbClr val="B4B4B4"/>
          </p15:clr>
        </p15:guide>
        <p15:guide id="18" pos="240">
          <p15:clr>
            <a:srgbClr val="B4B4B4"/>
          </p15:clr>
        </p15:guide>
        <p15:guide id="19" pos="480">
          <p15:clr>
            <a:srgbClr val="B4B4B4"/>
          </p15:clr>
        </p15:guide>
        <p15:guide id="20" pos="720">
          <p15:clr>
            <a:srgbClr val="B4B4B4"/>
          </p15:clr>
        </p15:guide>
        <p15:guide id="21" pos="960">
          <p15:clr>
            <a:srgbClr val="B4B4B4"/>
          </p15:clr>
        </p15:guide>
        <p15:guide id="22" pos="1200">
          <p15:clr>
            <a:srgbClr val="B4B4B4"/>
          </p15:clr>
        </p15:guide>
        <p15:guide id="23" pos="1440">
          <p15:clr>
            <a:srgbClr val="B4B4B4"/>
          </p15:clr>
        </p15:guide>
        <p15:guide id="24" pos="1680">
          <p15:clr>
            <a:srgbClr val="B4B4B4"/>
          </p15:clr>
        </p15:guide>
        <p15:guide id="25" pos="1920">
          <p15:clr>
            <a:srgbClr val="B4B4B4"/>
          </p15:clr>
        </p15:guide>
        <p15:guide id="26" pos="2160">
          <p15:clr>
            <a:srgbClr val="B4B4B4"/>
          </p15:clr>
        </p15:guide>
        <p15:guide id="27" pos="2400">
          <p15:clr>
            <a:srgbClr val="B4B4B4"/>
          </p15:clr>
        </p15:guide>
        <p15:guide id="28" pos="2640">
          <p15:clr>
            <a:srgbClr val="B4B4B4"/>
          </p15:clr>
        </p15:guide>
        <p15:guide id="29" pos="2880">
          <p15:clr>
            <a:srgbClr val="B4B4B4"/>
          </p15:clr>
        </p15:guide>
        <p15:guide id="30" pos="3120">
          <p15:clr>
            <a:srgbClr val="B4B4B4"/>
          </p15:clr>
        </p15:guide>
        <p15:guide id="31" pos="3360">
          <p15:clr>
            <a:srgbClr val="B4B4B4"/>
          </p15:clr>
        </p15:guide>
        <p15:guide id="32" pos="3600">
          <p15:clr>
            <a:srgbClr val="B4B4B4"/>
          </p15:clr>
        </p15:guide>
        <p15:guide id="33" pos="3840">
          <p15:clr>
            <a:srgbClr val="B4B4B4"/>
          </p15:clr>
        </p15:guide>
        <p15:guide id="34" pos="4080">
          <p15:clr>
            <a:srgbClr val="B4B4B4"/>
          </p15:clr>
        </p15:guide>
        <p15:guide id="35" pos="4320">
          <p15:clr>
            <a:srgbClr val="B4B4B4"/>
          </p15:clr>
        </p15:guide>
        <p15:guide id="36" pos="4560">
          <p15:clr>
            <a:srgbClr val="B4B4B4"/>
          </p15:clr>
        </p15:guide>
        <p15:guide id="37" pos="4800">
          <p15:clr>
            <a:srgbClr val="B4B4B4"/>
          </p15:clr>
        </p15:guide>
        <p15:guide id="38" pos="5040">
          <p15:clr>
            <a:srgbClr val="B4B4B4"/>
          </p15:clr>
        </p15:guide>
        <p15:guide id="39" pos="5280">
          <p15:clr>
            <a:srgbClr val="B4B4B4"/>
          </p15:clr>
        </p15:guide>
        <p15:guide id="40" pos="5520">
          <p15:clr>
            <a:srgbClr val="B4B4B4"/>
          </p15:clr>
        </p15:guide>
        <p15:guide id="41" pos="5760">
          <p15:clr>
            <a:srgbClr val="B4B4B4"/>
          </p15:clr>
        </p15:guide>
        <p15:guide id="42" pos="6000">
          <p15:clr>
            <a:srgbClr val="B4B4B4"/>
          </p15:clr>
        </p15:guide>
        <p15:guide id="43" pos="6240">
          <p15:clr>
            <a:srgbClr val="B4B4B4"/>
          </p15:clr>
        </p15:guide>
        <p15:guide id="44" pos="6480">
          <p15:clr>
            <a:srgbClr val="B4B4B4"/>
          </p15:clr>
        </p15:guide>
        <p15:guide id="45" pos="6720">
          <p15:clr>
            <a:srgbClr val="B4B4B4"/>
          </p15:clr>
        </p15:guide>
        <p15:guide id="46" pos="6960">
          <p15:clr>
            <a:srgbClr val="B4B4B4"/>
          </p15:clr>
        </p15:guide>
        <p15:guide id="47" pos="7200">
          <p15:clr>
            <a:srgbClr val="B4B4B4"/>
          </p15:clr>
        </p15:guide>
        <p15:guide id="48" pos="7440">
          <p15:clr>
            <a:srgbClr val="B4B4B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D1BB6C3-85C0-4D78-A335-487D253A70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870682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73" imgH="473" progId="TCLayout.ActiveDocument.1">
                  <p:embed/>
                </p:oleObj>
              </mc:Choice>
              <mc:Fallback>
                <p:oleObj name="think-cell Slide" r:id="rId2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D1BB6C3-85C0-4D78-A335-487D253A7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01742A-C2C4-4349-BA00-741293CB36A4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0368699-BA99-E84F-AB32-4E762B32A26B}"/>
              </a:ext>
            </a:extLst>
          </p:cNvPr>
          <p:cNvSpPr/>
          <p:nvPr userDrawn="1"/>
        </p:nvSpPr>
        <p:spPr>
          <a:xfrm>
            <a:off x="0" y="0"/>
            <a:ext cx="3048000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4B5871-DB92-6F46-AA38-789E9F5528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2286000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28999" y="381000"/>
            <a:ext cx="8378825" cy="571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This is where you make your case with relevant evidence and information. Keep sentences concise. Avoid jargon and repetition.</a:t>
            </a:r>
          </a:p>
          <a:p>
            <a:pPr lvl="1"/>
            <a:r>
              <a:rPr lang="en-US" noProof="0"/>
              <a:t>Bullet 1: Second level</a:t>
            </a:r>
          </a:p>
          <a:p>
            <a:pPr lvl="2"/>
            <a:r>
              <a:rPr lang="en-US" noProof="0"/>
              <a:t>Bullet 2: Third level</a:t>
            </a:r>
          </a:p>
          <a:p>
            <a:pPr lvl="3"/>
            <a:r>
              <a:rPr lang="en-US" noProof="0"/>
              <a:t>Bullet 3: Fourth level</a:t>
            </a:r>
          </a:p>
          <a:p>
            <a:pPr lvl="4"/>
            <a:r>
              <a:rPr lang="en-US" noProof="0"/>
              <a:t>Bullet 4: Fifth leve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7B123F1-21A1-48A2-A775-C2EFC581200F}"/>
              </a:ext>
            </a:extLst>
          </p:cNvPr>
          <p:cNvSpPr txBox="1"/>
          <p:nvPr userDrawn="1"/>
        </p:nvSpPr>
        <p:spPr>
          <a:xfrm>
            <a:off x="11209338" y="6572250"/>
            <a:ext cx="598486" cy="1524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earney/rZ4YOsQkmQ1Q1lmmyR</a:t>
            </a:r>
          </a:p>
        </p:txBody>
      </p:sp>
      <p:grpSp>
        <p:nvGrpSpPr>
          <p:cNvPr id="19" name="Graphic 19">
            <a:extLst>
              <a:ext uri="{FF2B5EF4-FFF2-40B4-BE49-F238E27FC236}">
                <a16:creationId xmlns:a16="http://schemas.microsoft.com/office/drawing/2014/main" id="{BF1BB8F7-8CC6-430A-B87E-567EFC10C2FE}"/>
              </a:ext>
            </a:extLst>
          </p:cNvPr>
          <p:cNvGrpSpPr/>
          <p:nvPr userDrawn="1"/>
        </p:nvGrpSpPr>
        <p:grpSpPr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20" name="Freeform 21">
              <a:extLst>
                <a:ext uri="{FF2B5EF4-FFF2-40B4-BE49-F238E27FC236}">
                  <a16:creationId xmlns:a16="http://schemas.microsoft.com/office/drawing/2014/main" id="{AF9DB104-C380-45AF-B05C-9E72C0B30BD8}"/>
                </a:ext>
              </a:extLst>
            </p:cNvPr>
            <p:cNvSpPr/>
            <p:nvPr/>
          </p:nvSpPr>
          <p:spPr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" name="Freeform 22">
              <a:extLst>
                <a:ext uri="{FF2B5EF4-FFF2-40B4-BE49-F238E27FC236}">
                  <a16:creationId xmlns:a16="http://schemas.microsoft.com/office/drawing/2014/main" id="{F2FC0DA2-EAA9-48F3-BD2B-19926E58251F}"/>
                </a:ext>
              </a:extLst>
            </p:cNvPr>
            <p:cNvSpPr/>
            <p:nvPr/>
          </p:nvSpPr>
          <p:spPr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Freeform 23">
              <a:extLst>
                <a:ext uri="{FF2B5EF4-FFF2-40B4-BE49-F238E27FC236}">
                  <a16:creationId xmlns:a16="http://schemas.microsoft.com/office/drawing/2014/main" id="{6A4E13BD-56FE-407B-85E1-BAA8A93A61A1}"/>
                </a:ext>
              </a:extLst>
            </p:cNvPr>
            <p:cNvSpPr/>
            <p:nvPr/>
          </p:nvSpPr>
          <p:spPr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" name="Freeform 24">
              <a:extLst>
                <a:ext uri="{FF2B5EF4-FFF2-40B4-BE49-F238E27FC236}">
                  <a16:creationId xmlns:a16="http://schemas.microsoft.com/office/drawing/2014/main" id="{1A8559EB-5B5E-4D28-986E-2607B66970CB}"/>
                </a:ext>
              </a:extLst>
            </p:cNvPr>
            <p:cNvSpPr/>
            <p:nvPr/>
          </p:nvSpPr>
          <p:spPr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" name="Freeform 25">
              <a:extLst>
                <a:ext uri="{FF2B5EF4-FFF2-40B4-BE49-F238E27FC236}">
                  <a16:creationId xmlns:a16="http://schemas.microsoft.com/office/drawing/2014/main" id="{81D1B4B8-BD83-424E-9D5F-F870040EF346}"/>
                </a:ext>
              </a:extLst>
            </p:cNvPr>
            <p:cNvSpPr/>
            <p:nvPr/>
          </p:nvSpPr>
          <p:spPr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" name="Freeform 26">
              <a:extLst>
                <a:ext uri="{FF2B5EF4-FFF2-40B4-BE49-F238E27FC236}">
                  <a16:creationId xmlns:a16="http://schemas.microsoft.com/office/drawing/2014/main" id="{D51EDEC6-9E60-41CA-B9BF-F4C34B82C211}"/>
                </a:ext>
              </a:extLst>
            </p:cNvPr>
            <p:cNvSpPr/>
            <p:nvPr/>
          </p:nvSpPr>
          <p:spPr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" name="Freeform 27">
              <a:extLst>
                <a:ext uri="{FF2B5EF4-FFF2-40B4-BE49-F238E27FC236}">
                  <a16:creationId xmlns:a16="http://schemas.microsoft.com/office/drawing/2014/main" id="{8BD00409-6988-41CF-8D29-FE8F1658B86D}"/>
                </a:ext>
              </a:extLst>
            </p:cNvPr>
            <p:cNvSpPr/>
            <p:nvPr/>
          </p:nvSpPr>
          <p:spPr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FBD2AA55-AD71-458E-AB53-14B489582B00}"/>
              </a:ext>
            </a:extLst>
          </p:cNvPr>
          <p:cNvSpPr txBox="1"/>
          <p:nvPr userDrawn="1"/>
        </p:nvSpPr>
        <p:spPr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 rtl="0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 rtl="0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519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  <p:sldLayoutId id="2147483769" r:id="rId12"/>
    <p:sldLayoutId id="2147483770" r:id="rId13"/>
    <p:sldLayoutId id="2147483771" r:id="rId14"/>
    <p:sldLayoutId id="2147483772" r:id="rId15"/>
    <p:sldLayoutId id="2147483773" r:id="rId16"/>
    <p:sldLayoutId id="2147483774" r:id="rId17"/>
    <p:sldLayoutId id="2147483775" r:id="rId18"/>
    <p:sldLayoutId id="2147483776" r:id="rId19"/>
    <p:sldLayoutId id="2147483777" r:id="rId20"/>
    <p:sldLayoutId id="2147483778" r:id="rId21"/>
  </p:sldLayoutIdLst>
  <p:hf hdr="0" ftr="0" dt="0"/>
  <p:txStyles>
    <p:titleStyle>
      <a:lvl1pPr marL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B4B4B4"/>
          </p15:clr>
        </p15:guide>
        <p15:guide id="2" orient="horz" pos="480">
          <p15:clr>
            <a:srgbClr val="B4B4B4"/>
          </p15:clr>
        </p15:guide>
        <p15:guide id="3" orient="horz" pos="720">
          <p15:clr>
            <a:srgbClr val="B4B4B4"/>
          </p15:clr>
        </p15:guide>
        <p15:guide id="4" orient="horz" pos="960">
          <p15:clr>
            <a:srgbClr val="B4B4B4"/>
          </p15:clr>
        </p15:guide>
        <p15:guide id="5" orient="horz" pos="1200">
          <p15:clr>
            <a:srgbClr val="B4B4B4"/>
          </p15:clr>
        </p15:guide>
        <p15:guide id="6" orient="horz" pos="1440">
          <p15:clr>
            <a:srgbClr val="B4B4B4"/>
          </p15:clr>
        </p15:guide>
        <p15:guide id="7" orient="horz" pos="1680">
          <p15:clr>
            <a:srgbClr val="B4B4B4"/>
          </p15:clr>
        </p15:guide>
        <p15:guide id="8" orient="horz" pos="1920">
          <p15:clr>
            <a:srgbClr val="B4B4B4"/>
          </p15:clr>
        </p15:guide>
        <p15:guide id="9" orient="horz" pos="2160">
          <p15:clr>
            <a:srgbClr val="B4B4B4"/>
          </p15:clr>
        </p15:guide>
        <p15:guide id="10" orient="horz" pos="2400">
          <p15:clr>
            <a:srgbClr val="B4B4B4"/>
          </p15:clr>
        </p15:guide>
        <p15:guide id="11" orient="horz" pos="2640">
          <p15:clr>
            <a:srgbClr val="B4B4B4"/>
          </p15:clr>
        </p15:guide>
        <p15:guide id="12" orient="horz" pos="2880">
          <p15:clr>
            <a:srgbClr val="B4B4B4"/>
          </p15:clr>
        </p15:guide>
        <p15:guide id="13" orient="horz" pos="3120">
          <p15:clr>
            <a:srgbClr val="B4B4B4"/>
          </p15:clr>
        </p15:guide>
        <p15:guide id="14" orient="horz" pos="3360">
          <p15:clr>
            <a:srgbClr val="B4B4B4"/>
          </p15:clr>
        </p15:guide>
        <p15:guide id="15" orient="horz" pos="3600">
          <p15:clr>
            <a:srgbClr val="B4B4B4"/>
          </p15:clr>
        </p15:guide>
        <p15:guide id="16" orient="horz" pos="3840">
          <p15:clr>
            <a:srgbClr val="B4B4B4"/>
          </p15:clr>
        </p15:guide>
        <p15:guide id="17" orient="horz" pos="4080">
          <p15:clr>
            <a:srgbClr val="B4B4B4"/>
          </p15:clr>
        </p15:guide>
        <p15:guide id="18" pos="240">
          <p15:clr>
            <a:srgbClr val="B4B4B4"/>
          </p15:clr>
        </p15:guide>
        <p15:guide id="19" pos="480">
          <p15:clr>
            <a:srgbClr val="B4B4B4"/>
          </p15:clr>
        </p15:guide>
        <p15:guide id="20" pos="720">
          <p15:clr>
            <a:srgbClr val="B4B4B4"/>
          </p15:clr>
        </p15:guide>
        <p15:guide id="21" pos="960">
          <p15:clr>
            <a:srgbClr val="B4B4B4"/>
          </p15:clr>
        </p15:guide>
        <p15:guide id="22" pos="1200">
          <p15:clr>
            <a:srgbClr val="B4B4B4"/>
          </p15:clr>
        </p15:guide>
        <p15:guide id="23" pos="1440">
          <p15:clr>
            <a:srgbClr val="B4B4B4"/>
          </p15:clr>
        </p15:guide>
        <p15:guide id="24" pos="1680">
          <p15:clr>
            <a:srgbClr val="B4B4B4"/>
          </p15:clr>
        </p15:guide>
        <p15:guide id="25" pos="1920">
          <p15:clr>
            <a:srgbClr val="B4B4B4"/>
          </p15:clr>
        </p15:guide>
        <p15:guide id="26" pos="2160">
          <p15:clr>
            <a:srgbClr val="B4B4B4"/>
          </p15:clr>
        </p15:guide>
        <p15:guide id="27" pos="2400">
          <p15:clr>
            <a:srgbClr val="B4B4B4"/>
          </p15:clr>
        </p15:guide>
        <p15:guide id="28" pos="2640">
          <p15:clr>
            <a:srgbClr val="B4B4B4"/>
          </p15:clr>
        </p15:guide>
        <p15:guide id="29" pos="2880">
          <p15:clr>
            <a:srgbClr val="B4B4B4"/>
          </p15:clr>
        </p15:guide>
        <p15:guide id="30" pos="3120">
          <p15:clr>
            <a:srgbClr val="B4B4B4"/>
          </p15:clr>
        </p15:guide>
        <p15:guide id="31" pos="3360">
          <p15:clr>
            <a:srgbClr val="B4B4B4"/>
          </p15:clr>
        </p15:guide>
        <p15:guide id="32" pos="3600">
          <p15:clr>
            <a:srgbClr val="B4B4B4"/>
          </p15:clr>
        </p15:guide>
        <p15:guide id="33" pos="3840">
          <p15:clr>
            <a:srgbClr val="B4B4B4"/>
          </p15:clr>
        </p15:guide>
        <p15:guide id="34" pos="4080">
          <p15:clr>
            <a:srgbClr val="B4B4B4"/>
          </p15:clr>
        </p15:guide>
        <p15:guide id="35" pos="4320">
          <p15:clr>
            <a:srgbClr val="B4B4B4"/>
          </p15:clr>
        </p15:guide>
        <p15:guide id="36" pos="4560">
          <p15:clr>
            <a:srgbClr val="B4B4B4"/>
          </p15:clr>
        </p15:guide>
        <p15:guide id="37" pos="4800">
          <p15:clr>
            <a:srgbClr val="B4B4B4"/>
          </p15:clr>
        </p15:guide>
        <p15:guide id="38" pos="5040">
          <p15:clr>
            <a:srgbClr val="B4B4B4"/>
          </p15:clr>
        </p15:guide>
        <p15:guide id="39" pos="5280">
          <p15:clr>
            <a:srgbClr val="B4B4B4"/>
          </p15:clr>
        </p15:guide>
        <p15:guide id="40" pos="5520">
          <p15:clr>
            <a:srgbClr val="B4B4B4"/>
          </p15:clr>
        </p15:guide>
        <p15:guide id="41" pos="5760">
          <p15:clr>
            <a:srgbClr val="B4B4B4"/>
          </p15:clr>
        </p15:guide>
        <p15:guide id="42" pos="6000">
          <p15:clr>
            <a:srgbClr val="B4B4B4"/>
          </p15:clr>
        </p15:guide>
        <p15:guide id="43" pos="6240">
          <p15:clr>
            <a:srgbClr val="B4B4B4"/>
          </p15:clr>
        </p15:guide>
        <p15:guide id="44" pos="6480">
          <p15:clr>
            <a:srgbClr val="B4B4B4"/>
          </p15:clr>
        </p15:guide>
        <p15:guide id="45" pos="6720">
          <p15:clr>
            <a:srgbClr val="B4B4B4"/>
          </p15:clr>
        </p15:guide>
        <p15:guide id="46" pos="6960">
          <p15:clr>
            <a:srgbClr val="B4B4B4"/>
          </p15:clr>
        </p15:guide>
        <p15:guide id="47" pos="7200">
          <p15:clr>
            <a:srgbClr val="B4B4B4"/>
          </p15:clr>
        </p15:guide>
        <p15:guide id="48" pos="7440">
          <p15:clr>
            <a:srgbClr val="B4B4B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D1BB6C3-85C0-4D78-A335-487D253A70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590406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73" imgH="473" progId="TCLayout.ActiveDocument.1">
                  <p:embed/>
                </p:oleObj>
              </mc:Choice>
              <mc:Fallback>
                <p:oleObj name="think-cell Slide" r:id="rId2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D1BB6C3-85C0-4D78-A335-487D253A7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01742A-C2C4-4349-BA00-741293CB36A4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0368699-BA99-E84F-AB32-4E762B32A26B}"/>
              </a:ext>
            </a:extLst>
          </p:cNvPr>
          <p:cNvSpPr/>
          <p:nvPr userDrawn="1"/>
        </p:nvSpPr>
        <p:spPr bwMode="gray">
          <a:xfrm>
            <a:off x="0" y="0"/>
            <a:ext cx="3048000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4B5871-DB92-6F46-AA38-789E9F5528B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81000" y="381000"/>
            <a:ext cx="2286000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429000" y="381000"/>
            <a:ext cx="8378824" cy="571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noProof="0"/>
              <a:t>This is where you make your case with relevant evidence and information. Keep sentences concise. Avoid jargon and repetition.</a:t>
            </a:r>
          </a:p>
          <a:p>
            <a:pPr lvl="1"/>
            <a:r>
              <a:rPr lang="en-US" noProof="0"/>
              <a:t>Bullet 1: Second level</a:t>
            </a:r>
          </a:p>
          <a:p>
            <a:pPr lvl="2"/>
            <a:r>
              <a:rPr lang="en-US" noProof="0"/>
              <a:t>Bullet 2: Third level</a:t>
            </a:r>
          </a:p>
          <a:p>
            <a:pPr lvl="3"/>
            <a:r>
              <a:rPr lang="en-US" noProof="0"/>
              <a:t>Bullet 3: Fourth level</a:t>
            </a:r>
          </a:p>
          <a:p>
            <a:pPr lvl="4"/>
            <a:r>
              <a:rPr lang="en-US" noProof="0"/>
              <a:t>Bullet 4: Fifth level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BD2AA55-AD71-458E-AB53-14B489582B00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E275BC7-1864-4368-837C-F720968391FD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DF0C2DC-3C41-40C4-8FF2-C386627D3F17}"/>
              </a:ext>
            </a:extLst>
          </p:cNvPr>
          <p:cNvSpPr txBox="1"/>
          <p:nvPr userDrawn="1"/>
        </p:nvSpPr>
        <p:spPr bwMode="gray">
          <a:xfrm>
            <a:off x="11209338" y="6572250"/>
            <a:ext cx="598486" cy="1524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earney 36/23988</a:t>
            </a:r>
          </a:p>
        </p:txBody>
      </p:sp>
    </p:spTree>
    <p:extLst>
      <p:ext uri="{BB962C8B-B14F-4D97-AF65-F5344CB8AC3E}">
        <p14:creationId xmlns:p14="http://schemas.microsoft.com/office/powerpoint/2010/main" val="1510029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  <p:sldLayoutId id="2147483792" r:id="rId13"/>
    <p:sldLayoutId id="2147483793" r:id="rId14"/>
    <p:sldLayoutId id="2147483794" r:id="rId15"/>
    <p:sldLayoutId id="2147483795" r:id="rId16"/>
    <p:sldLayoutId id="2147483796" r:id="rId17"/>
    <p:sldLayoutId id="2147483797" r:id="rId18"/>
    <p:sldLayoutId id="2147483798" r:id="rId19"/>
    <p:sldLayoutId id="2147483799" r:id="rId20"/>
  </p:sldLayoutIdLst>
  <p:hf hdr="0" ftr="0" dt="0"/>
  <p:txStyles>
    <p:titleStyle>
      <a:lvl1pPr marL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156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734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B4B4B4"/>
          </p15:clr>
        </p15:guide>
        <p15:guide id="2" orient="horz" pos="480">
          <p15:clr>
            <a:srgbClr val="B4B4B4"/>
          </p15:clr>
        </p15:guide>
        <p15:guide id="3" orient="horz" pos="720">
          <p15:clr>
            <a:srgbClr val="B4B4B4"/>
          </p15:clr>
        </p15:guide>
        <p15:guide id="4" orient="horz" pos="960">
          <p15:clr>
            <a:srgbClr val="B4B4B4"/>
          </p15:clr>
        </p15:guide>
        <p15:guide id="5" orient="horz" pos="1200">
          <p15:clr>
            <a:srgbClr val="B4B4B4"/>
          </p15:clr>
        </p15:guide>
        <p15:guide id="6" orient="horz" pos="1440">
          <p15:clr>
            <a:srgbClr val="B4B4B4"/>
          </p15:clr>
        </p15:guide>
        <p15:guide id="7" orient="horz" pos="1680">
          <p15:clr>
            <a:srgbClr val="B4B4B4"/>
          </p15:clr>
        </p15:guide>
        <p15:guide id="8" orient="horz" pos="1920">
          <p15:clr>
            <a:srgbClr val="B4B4B4"/>
          </p15:clr>
        </p15:guide>
        <p15:guide id="9" orient="horz" pos="2160">
          <p15:clr>
            <a:srgbClr val="B4B4B4"/>
          </p15:clr>
        </p15:guide>
        <p15:guide id="10" orient="horz" pos="2400">
          <p15:clr>
            <a:srgbClr val="B4B4B4"/>
          </p15:clr>
        </p15:guide>
        <p15:guide id="11" orient="horz" pos="2640">
          <p15:clr>
            <a:srgbClr val="B4B4B4"/>
          </p15:clr>
        </p15:guide>
        <p15:guide id="12" orient="horz" pos="2880">
          <p15:clr>
            <a:srgbClr val="B4B4B4"/>
          </p15:clr>
        </p15:guide>
        <p15:guide id="13" orient="horz" pos="3120">
          <p15:clr>
            <a:srgbClr val="B4B4B4"/>
          </p15:clr>
        </p15:guide>
        <p15:guide id="14" orient="horz" pos="3360">
          <p15:clr>
            <a:srgbClr val="B4B4B4"/>
          </p15:clr>
        </p15:guide>
        <p15:guide id="15" orient="horz" pos="3600">
          <p15:clr>
            <a:srgbClr val="B4B4B4"/>
          </p15:clr>
        </p15:guide>
        <p15:guide id="16" orient="horz" pos="3840">
          <p15:clr>
            <a:srgbClr val="B4B4B4"/>
          </p15:clr>
        </p15:guide>
        <p15:guide id="17" orient="horz" pos="4080">
          <p15:clr>
            <a:srgbClr val="B4B4B4"/>
          </p15:clr>
        </p15:guide>
        <p15:guide id="18" orient="horz" pos="4320">
          <p15:clr>
            <a:srgbClr val="B4B4B4"/>
          </p15:clr>
        </p15:guide>
        <p15:guide id="19" pos="240">
          <p15:clr>
            <a:srgbClr val="B4B4B4"/>
          </p15:clr>
        </p15:guide>
        <p15:guide id="20" pos="480">
          <p15:clr>
            <a:srgbClr val="B4B4B4"/>
          </p15:clr>
        </p15:guide>
        <p15:guide id="21" pos="720">
          <p15:clr>
            <a:srgbClr val="B4B4B4"/>
          </p15:clr>
        </p15:guide>
        <p15:guide id="22" pos="960">
          <p15:clr>
            <a:srgbClr val="B4B4B4"/>
          </p15:clr>
        </p15:guide>
        <p15:guide id="23" pos="1200">
          <p15:clr>
            <a:srgbClr val="B4B4B4"/>
          </p15:clr>
        </p15:guide>
        <p15:guide id="24" pos="1440">
          <p15:clr>
            <a:srgbClr val="B4B4B4"/>
          </p15:clr>
        </p15:guide>
        <p15:guide id="25" pos="1680">
          <p15:clr>
            <a:srgbClr val="B4B4B4"/>
          </p15:clr>
        </p15:guide>
        <p15:guide id="26" pos="1920">
          <p15:clr>
            <a:srgbClr val="B4B4B4"/>
          </p15:clr>
        </p15:guide>
        <p15:guide id="27" pos="2160">
          <p15:clr>
            <a:srgbClr val="B4B4B4"/>
          </p15:clr>
        </p15:guide>
        <p15:guide id="28" pos="2400">
          <p15:clr>
            <a:srgbClr val="B4B4B4"/>
          </p15:clr>
        </p15:guide>
        <p15:guide id="29" pos="2640">
          <p15:clr>
            <a:srgbClr val="B4B4B4"/>
          </p15:clr>
        </p15:guide>
        <p15:guide id="30" pos="2880">
          <p15:clr>
            <a:srgbClr val="B4B4B4"/>
          </p15:clr>
        </p15:guide>
        <p15:guide id="31" pos="3120">
          <p15:clr>
            <a:srgbClr val="B4B4B4"/>
          </p15:clr>
        </p15:guide>
        <p15:guide id="32" pos="3360">
          <p15:clr>
            <a:srgbClr val="B4B4B4"/>
          </p15:clr>
        </p15:guide>
        <p15:guide id="33" pos="3600">
          <p15:clr>
            <a:srgbClr val="B4B4B4"/>
          </p15:clr>
        </p15:guide>
        <p15:guide id="34" pos="3840">
          <p15:clr>
            <a:srgbClr val="B4B4B4"/>
          </p15:clr>
        </p15:guide>
        <p15:guide id="35" pos="4080">
          <p15:clr>
            <a:srgbClr val="B4B4B4"/>
          </p15:clr>
        </p15:guide>
        <p15:guide id="36" pos="4320">
          <p15:clr>
            <a:srgbClr val="B4B4B4"/>
          </p15:clr>
        </p15:guide>
        <p15:guide id="37" pos="4560">
          <p15:clr>
            <a:srgbClr val="B4B4B4"/>
          </p15:clr>
        </p15:guide>
        <p15:guide id="38" pos="4800">
          <p15:clr>
            <a:srgbClr val="B4B4B4"/>
          </p15:clr>
        </p15:guide>
        <p15:guide id="39" pos="5040">
          <p15:clr>
            <a:srgbClr val="B4B4B4"/>
          </p15:clr>
        </p15:guide>
        <p15:guide id="40" pos="5280">
          <p15:clr>
            <a:srgbClr val="B4B4B4"/>
          </p15:clr>
        </p15:guide>
        <p15:guide id="41" pos="5520">
          <p15:clr>
            <a:srgbClr val="B4B4B4"/>
          </p15:clr>
        </p15:guide>
        <p15:guide id="42" pos="5760">
          <p15:clr>
            <a:srgbClr val="B4B4B4"/>
          </p15:clr>
        </p15:guide>
        <p15:guide id="43" pos="6000">
          <p15:clr>
            <a:srgbClr val="B4B4B4"/>
          </p15:clr>
        </p15:guide>
        <p15:guide id="44" pos="6240">
          <p15:clr>
            <a:srgbClr val="B4B4B4"/>
          </p15:clr>
        </p15:guide>
        <p15:guide id="45" pos="6480">
          <p15:clr>
            <a:srgbClr val="B4B4B4"/>
          </p15:clr>
        </p15:guide>
        <p15:guide id="46" pos="6720">
          <p15:clr>
            <a:srgbClr val="B4B4B4"/>
          </p15:clr>
        </p15:guide>
        <p15:guide id="47" pos="6960">
          <p15:clr>
            <a:srgbClr val="B4B4B4"/>
          </p15:clr>
        </p15:guide>
        <p15:guide id="48" pos="7200">
          <p15:clr>
            <a:srgbClr val="B4B4B4"/>
          </p15:clr>
        </p15:guide>
        <p15:guide id="49" pos="7440">
          <p15:clr>
            <a:srgbClr val="B4B4B4"/>
          </p15:clr>
        </p15:guide>
        <p15:guide id="50" pos="7680">
          <p15:clr>
            <a:srgbClr val="B4B4B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65.xml"/><Relationship Id="rId5" Type="http://schemas.openxmlformats.org/officeDocument/2006/relationships/image" Target="../media/image21.png"/><Relationship Id="rId4" Type="http://schemas.openxmlformats.org/officeDocument/2006/relationships/image" Target="../media/image20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4.xml"/><Relationship Id="rId7" Type="http://schemas.openxmlformats.org/officeDocument/2006/relationships/image" Target="../media/image23.jpeg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44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B362EA0-8563-29E6-7092-2C46344EEF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6369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362EA0-8563-29E6-7092-2C46344EEF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Placeholder 1">
            <a:extLst>
              <a:ext uri="{FF2B5EF4-FFF2-40B4-BE49-F238E27FC236}">
                <a16:creationId xmlns:a16="http://schemas.microsoft.com/office/drawing/2014/main" id="{60534356-08A7-D4C5-AF7F-474B93CBEEFD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5"/>
          <a:srcRect l="5530" r="5530"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1B7D75-1AF9-40D5-ABC0-060D43DD1CD7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380999" y="3514685"/>
            <a:ext cx="2667001" cy="193899"/>
          </a:xfrm>
        </p:spPr>
        <p:txBody>
          <a:bodyPr/>
          <a:lstStyle/>
          <a:p>
            <a:r>
              <a:rPr lang="en-GB" dirty="0"/>
              <a:t>Areas of Expertis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56C2E9F-174F-4492-AAC2-379AEA5FEDB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428999" y="3514685"/>
            <a:ext cx="2286001" cy="193899"/>
          </a:xfrm>
        </p:spPr>
        <p:txBody>
          <a:bodyPr/>
          <a:lstStyle/>
          <a:p>
            <a:r>
              <a:rPr lang="en-US" dirty="0"/>
              <a:t>Education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487B328-70FE-44C4-A244-4E5FD4CF2B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Benjamin Reinitzer</a:t>
            </a:r>
            <a:br>
              <a:rPr lang="en-GB" dirty="0"/>
            </a:br>
            <a:r>
              <a:rPr lang="en-GB" b="0" dirty="0"/>
              <a:t>Associate, Munich, Germany</a:t>
            </a:r>
            <a:endParaRPr lang="en-US" b="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2EA5B77-E0DF-4CB2-9C22-2ED3D4EAEF2A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80999" y="3773291"/>
            <a:ext cx="2666746" cy="2074529"/>
          </a:xfrm>
        </p:spPr>
        <p:txBody>
          <a:bodyPr/>
          <a:lstStyle/>
          <a:p>
            <a:pPr marL="0" indent="0">
              <a:buNone/>
            </a:pPr>
            <a:r>
              <a:rPr lang="en-US" sz="1200" b="1" dirty="0"/>
              <a:t>Industry</a:t>
            </a:r>
            <a:r>
              <a:rPr lang="en-US" b="1" dirty="0"/>
              <a:t> </a:t>
            </a:r>
          </a:p>
          <a:p>
            <a:pPr>
              <a:spcAft>
                <a:spcPct val="0"/>
              </a:spcAft>
              <a:buClr>
                <a:schemeClr val="tx2"/>
              </a:buClr>
            </a:pPr>
            <a:r>
              <a:rPr lang="de-DE" sz="1200" dirty="0"/>
              <a:t>Telco / Media / Technology</a:t>
            </a:r>
            <a:endParaRPr lang="en-GB" sz="1200" dirty="0"/>
          </a:p>
          <a:p>
            <a:pPr>
              <a:spcAft>
                <a:spcPct val="0"/>
              </a:spcAft>
              <a:buClr>
                <a:schemeClr val="tx2"/>
              </a:buClr>
            </a:pPr>
            <a:r>
              <a:rPr lang="de-DE" sz="1200" dirty="0"/>
              <a:t>Transportation</a:t>
            </a:r>
          </a:p>
          <a:p>
            <a:pPr>
              <a:spcAft>
                <a:spcPct val="0"/>
              </a:spcAft>
              <a:buClr>
                <a:schemeClr val="tx2"/>
              </a:buClr>
            </a:pPr>
            <a:r>
              <a:rPr lang="de-DE" sz="1200" dirty="0"/>
              <a:t>Consumer </a:t>
            </a:r>
            <a:r>
              <a:rPr lang="de-DE" sz="1200" dirty="0" err="1"/>
              <a:t>Goods</a:t>
            </a:r>
            <a:endParaRPr lang="de-DE" sz="1200" dirty="0"/>
          </a:p>
          <a:p>
            <a:pPr marL="0" indent="0">
              <a:spcBef>
                <a:spcPts val="1200"/>
              </a:spcBef>
              <a:buNone/>
            </a:pPr>
            <a:r>
              <a:rPr lang="en-US" sz="1200" b="1" dirty="0"/>
              <a:t>Functional</a:t>
            </a:r>
            <a:endParaRPr lang="en-US" b="1" dirty="0"/>
          </a:p>
          <a:p>
            <a:pPr>
              <a:spcAft>
                <a:spcPct val="0"/>
              </a:spcAft>
              <a:buClr>
                <a:schemeClr val="tx2"/>
              </a:buClr>
            </a:pPr>
            <a:r>
              <a:rPr lang="de-DE" sz="1200" dirty="0"/>
              <a:t>Strategic &amp; Financial Transformation</a:t>
            </a:r>
          </a:p>
          <a:p>
            <a:pPr>
              <a:spcAft>
                <a:spcPct val="0"/>
              </a:spcAft>
              <a:buClr>
                <a:schemeClr val="tx2"/>
              </a:buClr>
            </a:pPr>
            <a:r>
              <a:rPr lang="de-DE" sz="1200" dirty="0" err="1"/>
              <a:t>Strategy</a:t>
            </a:r>
            <a:r>
              <a:rPr lang="de-DE" sz="1200" dirty="0"/>
              <a:t> &amp; </a:t>
            </a:r>
            <a:r>
              <a:rPr lang="de-DE" sz="1200" dirty="0" err="1"/>
              <a:t>Topline</a:t>
            </a:r>
            <a:endParaRPr lang="de-DE" sz="1200" dirty="0"/>
          </a:p>
          <a:p>
            <a:pPr>
              <a:spcAft>
                <a:spcPct val="0"/>
              </a:spcAft>
              <a:buClr>
                <a:schemeClr val="tx2"/>
              </a:buClr>
            </a:pPr>
            <a:r>
              <a:rPr lang="de-DE" sz="1200" dirty="0"/>
              <a:t>Financial &amp; Market Modelling</a:t>
            </a:r>
          </a:p>
          <a:p>
            <a:pPr>
              <a:spcAft>
                <a:spcPct val="0"/>
              </a:spcAft>
              <a:buClr>
                <a:schemeClr val="tx2"/>
              </a:buClr>
            </a:pPr>
            <a:r>
              <a:rPr lang="de-DE" sz="1200" dirty="0"/>
              <a:t>Mergers &amp; Acquisitions</a:t>
            </a:r>
            <a:endParaRPr lang="en-GB" sz="120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5CCCA83-6E6E-45DD-B925-7066855818EB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3427396" y="3773291"/>
            <a:ext cx="2285783" cy="2074529"/>
          </a:xfrm>
        </p:spPr>
        <p:txBody>
          <a:bodyPr/>
          <a:lstStyle/>
          <a:p>
            <a:pPr lvl="0">
              <a:spcAft>
                <a:spcPct val="0"/>
              </a:spcAft>
              <a:buClr>
                <a:schemeClr val="tx2"/>
              </a:buClr>
            </a:pPr>
            <a:r>
              <a:rPr lang="de-DE" sz="1200" dirty="0" err="1"/>
              <a:t>BSc</a:t>
            </a:r>
            <a:r>
              <a:rPr lang="de-DE" sz="1200" dirty="0"/>
              <a:t>. International Business Administration, RSM Erasmus University Rotterdam</a:t>
            </a:r>
          </a:p>
          <a:p>
            <a:pPr>
              <a:spcAft>
                <a:spcPct val="0"/>
              </a:spcAft>
              <a:buClr>
                <a:schemeClr val="tx2"/>
              </a:buClr>
            </a:pPr>
            <a:r>
              <a:rPr lang="de-DE" sz="1200" dirty="0" err="1"/>
              <a:t>MSc</a:t>
            </a:r>
            <a:r>
              <a:rPr lang="de-DE" sz="1200" dirty="0"/>
              <a:t>. Economics &amp; Management </a:t>
            </a:r>
            <a:r>
              <a:rPr lang="de-DE" sz="1200" dirty="0" err="1"/>
              <a:t>of</a:t>
            </a:r>
            <a:r>
              <a:rPr lang="de-DE" sz="1200" dirty="0"/>
              <a:t> Innovation &amp; Technology, </a:t>
            </a:r>
            <a:r>
              <a:rPr lang="de-DE" sz="1200" dirty="0" err="1"/>
              <a:t>Bocconi</a:t>
            </a:r>
            <a:r>
              <a:rPr lang="de-DE" sz="1200" dirty="0"/>
              <a:t> University</a:t>
            </a:r>
          </a:p>
          <a:p>
            <a:pPr>
              <a:spcAft>
                <a:spcPct val="0"/>
              </a:spcAft>
              <a:buClr>
                <a:schemeClr val="tx2"/>
              </a:buClr>
            </a:pPr>
            <a:r>
              <a:rPr lang="de-DE" sz="1200" dirty="0" err="1"/>
              <a:t>Certificate</a:t>
            </a:r>
            <a:r>
              <a:rPr lang="de-DE" sz="1200" dirty="0"/>
              <a:t>: Business Sustainability Management, University </a:t>
            </a:r>
            <a:r>
              <a:rPr lang="de-DE" sz="1200" dirty="0" err="1"/>
              <a:t>of</a:t>
            </a:r>
            <a:r>
              <a:rPr lang="de-DE" sz="1200" dirty="0"/>
              <a:t> Cambridge</a:t>
            </a:r>
          </a:p>
          <a:p>
            <a:pPr lvl="0">
              <a:spcAft>
                <a:spcPct val="0"/>
              </a:spcAft>
              <a:buClr>
                <a:schemeClr val="tx2"/>
              </a:buClr>
            </a:pPr>
            <a:endParaRPr lang="de-DE" sz="1200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3CC67439-1730-43BE-BB9D-750C3C393D04}"/>
              </a:ext>
            </a:extLst>
          </p:cNvPr>
          <p:cNvSpPr>
            <a:spLocks noGrp="1"/>
          </p:cNvSpPr>
          <p:nvPr>
            <p:ph sz="quarter" idx="41"/>
          </p:nvPr>
        </p:nvSpPr>
        <p:spPr/>
        <p:txBody>
          <a:bodyPr/>
          <a:lstStyle/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1" dirty="0">
                <a:solidFill>
                  <a:srgbClr val="7823DC"/>
                </a:solidFill>
              </a:rPr>
              <a:t>Summary of experience</a:t>
            </a:r>
          </a:p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200" dirty="0">
                <a:solidFill>
                  <a:srgbClr val="1E1E1E"/>
                </a:solidFill>
              </a:rPr>
              <a:t>With over 3 years of consulting experience, Benjamin has helped clients in their financial and organization transformations, market entry strategy development and market intelligence generation. He is passionate about financial modeling, corporate transformations &amp; restructuring, product innovation, artificial intelligence (AI) and strategy development.</a:t>
            </a:r>
            <a:endParaRPr lang="en-US" dirty="0">
              <a:solidFill>
                <a:srgbClr val="1E1E1E"/>
              </a:solidFill>
            </a:endParaRPr>
          </a:p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1E1E1E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b="1" dirty="0">
                <a:solidFill>
                  <a:srgbClr val="7823DC"/>
                </a:solidFill>
              </a:rPr>
              <a:t>Selected consulting engagement experience</a:t>
            </a:r>
          </a:p>
          <a:p>
            <a:pPr>
              <a:buClr>
                <a:schemeClr val="tx2"/>
              </a:buClr>
            </a:pPr>
            <a:r>
              <a:rPr lang="de-DE" sz="1200" dirty="0"/>
              <a:t>Transformation </a:t>
            </a:r>
            <a:r>
              <a:rPr lang="de-DE" sz="1200" dirty="0" err="1"/>
              <a:t>of</a:t>
            </a:r>
            <a:r>
              <a:rPr lang="de-DE" sz="1200" dirty="0"/>
              <a:t> </a:t>
            </a:r>
            <a:r>
              <a:rPr lang="de-DE" sz="1200" dirty="0" err="1"/>
              <a:t>major</a:t>
            </a:r>
            <a:r>
              <a:rPr lang="de-DE" sz="1200" dirty="0"/>
              <a:t> European-ICT (</a:t>
            </a:r>
            <a:r>
              <a:rPr lang="de-DE" sz="1200" dirty="0" err="1"/>
              <a:t>satellite</a:t>
            </a:r>
            <a:r>
              <a:rPr lang="de-DE" sz="1200" dirty="0"/>
              <a:t>) </a:t>
            </a:r>
            <a:r>
              <a:rPr lang="de-DE" sz="1200" dirty="0" err="1"/>
              <a:t>player</a:t>
            </a:r>
            <a:endParaRPr lang="de-DE" sz="1200" dirty="0"/>
          </a:p>
          <a:p>
            <a:pPr lvl="2">
              <a:buClr>
                <a:schemeClr val="tx2"/>
              </a:buClr>
            </a:pPr>
            <a:r>
              <a:rPr lang="de-DE" sz="1200" dirty="0"/>
              <a:t>E2E-process </a:t>
            </a:r>
            <a:r>
              <a:rPr lang="de-DE" sz="1200" dirty="0" err="1"/>
              <a:t>optimization</a:t>
            </a:r>
            <a:r>
              <a:rPr lang="de-DE" sz="1200" dirty="0"/>
              <a:t> </a:t>
            </a:r>
            <a:r>
              <a:rPr lang="de-DE" sz="1200" dirty="0" err="1"/>
              <a:t>of</a:t>
            </a:r>
            <a:r>
              <a:rPr lang="de-DE" sz="1200" dirty="0"/>
              <a:t> </a:t>
            </a:r>
          </a:p>
          <a:p>
            <a:pPr>
              <a:buClr>
                <a:schemeClr val="tx2"/>
              </a:buClr>
            </a:pPr>
            <a:r>
              <a:rPr lang="de-DE" sz="1200" dirty="0" err="1"/>
              <a:t>Artificial</a:t>
            </a:r>
            <a:r>
              <a:rPr lang="de-DE" sz="1200" dirty="0"/>
              <a:t> </a:t>
            </a:r>
            <a:r>
              <a:rPr lang="de-DE" sz="1200" dirty="0" err="1"/>
              <a:t>Intelligence</a:t>
            </a:r>
            <a:r>
              <a:rPr lang="de-DE" sz="1200" dirty="0"/>
              <a:t> (AI)-</a:t>
            </a:r>
            <a:r>
              <a:rPr lang="de-DE" sz="1200" dirty="0" err="1"/>
              <a:t>strategy</a:t>
            </a:r>
            <a:r>
              <a:rPr lang="de-DE" sz="1200" dirty="0"/>
              <a:t> </a:t>
            </a:r>
            <a:r>
              <a:rPr lang="de-DE" sz="1200" dirty="0" err="1"/>
              <a:t>for</a:t>
            </a:r>
            <a:r>
              <a:rPr lang="de-DE" sz="1200" dirty="0"/>
              <a:t> </a:t>
            </a:r>
            <a:r>
              <a:rPr lang="de-DE" sz="1200" dirty="0" err="1"/>
              <a:t>leading</a:t>
            </a:r>
            <a:r>
              <a:rPr lang="de-DE" sz="1200" dirty="0"/>
              <a:t> European Telco </a:t>
            </a:r>
            <a:r>
              <a:rPr lang="de-DE" sz="1200" dirty="0" err="1"/>
              <a:t>incumbent</a:t>
            </a:r>
            <a:endParaRPr lang="de-DE" sz="1200" dirty="0"/>
          </a:p>
          <a:p>
            <a:pPr lvl="2">
              <a:buClr>
                <a:schemeClr val="tx2"/>
              </a:buClr>
            </a:pPr>
            <a:r>
              <a:rPr lang="de-DE" sz="1200" dirty="0" err="1"/>
              <a:t>Quantified</a:t>
            </a:r>
            <a:r>
              <a:rPr lang="de-DE" sz="1200" dirty="0"/>
              <a:t> AI-</a:t>
            </a:r>
            <a:r>
              <a:rPr lang="de-DE" sz="1200" dirty="0" err="1"/>
              <a:t>savings</a:t>
            </a:r>
            <a:r>
              <a:rPr lang="de-DE" sz="1200" dirty="0"/>
              <a:t> potential </a:t>
            </a:r>
            <a:r>
              <a:rPr lang="de-DE" sz="1200" dirty="0" err="1"/>
              <a:t>across</a:t>
            </a:r>
            <a:r>
              <a:rPr lang="de-DE" sz="1200" dirty="0"/>
              <a:t> </a:t>
            </a:r>
            <a:r>
              <a:rPr lang="de-DE" sz="1200" dirty="0" err="1"/>
              <a:t>various</a:t>
            </a:r>
            <a:r>
              <a:rPr lang="de-DE" sz="1200" dirty="0"/>
              <a:t> </a:t>
            </a:r>
            <a:r>
              <a:rPr lang="de-DE" sz="1200" dirty="0" err="1"/>
              <a:t>divisions</a:t>
            </a:r>
            <a:r>
              <a:rPr lang="de-DE" sz="1200" dirty="0"/>
              <a:t> </a:t>
            </a:r>
            <a:r>
              <a:rPr lang="de-DE" sz="1200" dirty="0" err="1"/>
              <a:t>of</a:t>
            </a:r>
            <a:r>
              <a:rPr lang="de-DE" sz="1200" dirty="0"/>
              <a:t> </a:t>
            </a:r>
            <a:r>
              <a:rPr lang="de-DE" sz="1200" dirty="0" err="1"/>
              <a:t>the</a:t>
            </a:r>
            <a:r>
              <a:rPr lang="de-DE" sz="1200" dirty="0"/>
              <a:t> firm.</a:t>
            </a:r>
          </a:p>
          <a:p>
            <a:pPr>
              <a:buClr>
                <a:schemeClr val="tx2"/>
              </a:buClr>
            </a:pPr>
            <a:r>
              <a:rPr lang="de-DE" sz="1200" dirty="0"/>
              <a:t>Organizational </a:t>
            </a:r>
            <a:r>
              <a:rPr lang="de-DE" sz="1200" dirty="0" err="1"/>
              <a:t>transformation</a:t>
            </a:r>
            <a:r>
              <a:rPr lang="de-DE" sz="1200" dirty="0"/>
              <a:t> / </a:t>
            </a:r>
            <a:r>
              <a:rPr lang="de-DE" sz="1200" dirty="0" err="1"/>
              <a:t>restructuring</a:t>
            </a:r>
            <a:r>
              <a:rPr lang="de-DE" sz="1200" dirty="0"/>
              <a:t> (Financial Steering) </a:t>
            </a:r>
            <a:r>
              <a:rPr lang="de-DE" sz="1200" dirty="0" err="1"/>
              <a:t>for</a:t>
            </a:r>
            <a:r>
              <a:rPr lang="de-DE" sz="1200" dirty="0"/>
              <a:t> a </a:t>
            </a:r>
            <a:r>
              <a:rPr lang="de-DE" sz="1200" dirty="0" err="1"/>
              <a:t>publicly</a:t>
            </a:r>
            <a:r>
              <a:rPr lang="de-DE" sz="1200" dirty="0"/>
              <a:t> </a:t>
            </a:r>
            <a:r>
              <a:rPr lang="de-DE" sz="1200" dirty="0" err="1"/>
              <a:t>listed</a:t>
            </a:r>
            <a:r>
              <a:rPr lang="de-DE" sz="1200" dirty="0"/>
              <a:t> European </a:t>
            </a:r>
            <a:r>
              <a:rPr lang="de-DE" sz="1200" dirty="0" err="1"/>
              <a:t>consumer</a:t>
            </a:r>
            <a:r>
              <a:rPr lang="de-DE" sz="1200" dirty="0"/>
              <a:t> </a:t>
            </a:r>
            <a:r>
              <a:rPr lang="de-DE" sz="1200" dirty="0" err="1"/>
              <a:t>goods</a:t>
            </a:r>
            <a:r>
              <a:rPr lang="de-DE" sz="1200" dirty="0"/>
              <a:t> </a:t>
            </a:r>
            <a:r>
              <a:rPr lang="de-DE" sz="1200" dirty="0" err="1"/>
              <a:t>player</a:t>
            </a:r>
            <a:endParaRPr lang="de-DE" sz="1200" dirty="0"/>
          </a:p>
          <a:p>
            <a:pPr lvl="1">
              <a:buSzPts val="1000"/>
            </a:pPr>
            <a:r>
              <a:rPr lang="en-US" sz="1200" b="0" i="0" u="none" strike="noStrike" kern="1200" baseline="0" dirty="0">
                <a:solidFill>
                  <a:srgbClr val="1E1E1E"/>
                </a:solidFill>
                <a:latin typeface="Arial" panose="020B0604020202020204" pitchFamily="34" charset="0"/>
              </a:rPr>
              <a:t>Built transformation business case for an ~€800M transformation program and established financial steering of initiatives, reporting to C-Level</a:t>
            </a:r>
          </a:p>
          <a:p>
            <a:pPr>
              <a:buClr>
                <a:schemeClr val="tx2"/>
              </a:buClr>
            </a:pPr>
            <a:r>
              <a:rPr lang="de-DE" sz="1200" dirty="0"/>
              <a:t>Market Entry </a:t>
            </a:r>
            <a:r>
              <a:rPr lang="de-DE" sz="1200" dirty="0" err="1"/>
              <a:t>Strategy</a:t>
            </a:r>
            <a:r>
              <a:rPr lang="de-DE" sz="1200" dirty="0"/>
              <a:t> </a:t>
            </a:r>
            <a:r>
              <a:rPr lang="de-DE" sz="1200" dirty="0" err="1"/>
              <a:t>development</a:t>
            </a:r>
            <a:r>
              <a:rPr lang="de-DE" sz="1200" dirty="0"/>
              <a:t> </a:t>
            </a:r>
            <a:r>
              <a:rPr lang="de-DE" sz="1200" dirty="0" err="1"/>
              <a:t>for</a:t>
            </a:r>
            <a:r>
              <a:rPr lang="de-DE" sz="1200" dirty="0"/>
              <a:t> a </a:t>
            </a:r>
            <a:r>
              <a:rPr lang="de-DE" sz="1200" dirty="0" err="1"/>
              <a:t>major</a:t>
            </a:r>
            <a:r>
              <a:rPr lang="de-DE" sz="1200" dirty="0"/>
              <a:t> European Telco </a:t>
            </a:r>
            <a:r>
              <a:rPr lang="de-DE" sz="1200" dirty="0" err="1"/>
              <a:t>provider</a:t>
            </a:r>
            <a:endParaRPr lang="de-DE" sz="1200" dirty="0"/>
          </a:p>
          <a:p>
            <a:pPr lvl="1">
              <a:buClr>
                <a:schemeClr val="tx2"/>
              </a:buClr>
            </a:pPr>
            <a:r>
              <a:rPr lang="de-DE" sz="1200" dirty="0" err="1"/>
              <a:t>Quantification</a:t>
            </a:r>
            <a:r>
              <a:rPr lang="de-DE" sz="1200" dirty="0"/>
              <a:t> </a:t>
            </a:r>
            <a:r>
              <a:rPr lang="de-DE" sz="1200" dirty="0" err="1"/>
              <a:t>of</a:t>
            </a:r>
            <a:r>
              <a:rPr lang="de-DE" sz="1200" dirty="0"/>
              <a:t> </a:t>
            </a:r>
            <a:r>
              <a:rPr lang="de-DE" sz="1200" dirty="0" err="1"/>
              <a:t>revenue</a:t>
            </a:r>
            <a:r>
              <a:rPr lang="de-DE" sz="1200" dirty="0"/>
              <a:t> potential and </a:t>
            </a:r>
            <a:r>
              <a:rPr lang="de-DE" sz="1200" dirty="0" err="1"/>
              <a:t>market</a:t>
            </a:r>
            <a:r>
              <a:rPr lang="de-DE" sz="1200" dirty="0"/>
              <a:t> </a:t>
            </a:r>
            <a:r>
              <a:rPr lang="de-DE" sz="1200" dirty="0" err="1"/>
              <a:t>size</a:t>
            </a:r>
            <a:endParaRPr lang="de-DE" sz="1200" dirty="0"/>
          </a:p>
          <a:p>
            <a:pPr lvl="1">
              <a:buClr>
                <a:schemeClr val="tx2"/>
              </a:buClr>
            </a:pPr>
            <a:r>
              <a:rPr lang="de-DE" sz="1200" dirty="0"/>
              <a:t>Assessment </a:t>
            </a:r>
            <a:r>
              <a:rPr lang="de-DE" sz="1200" dirty="0" err="1"/>
              <a:t>of</a:t>
            </a:r>
            <a:r>
              <a:rPr lang="de-DE" sz="1200" dirty="0"/>
              <a:t> Right-</a:t>
            </a:r>
            <a:r>
              <a:rPr lang="de-DE" sz="1200" dirty="0" err="1"/>
              <a:t>to</a:t>
            </a:r>
            <a:r>
              <a:rPr lang="de-DE" sz="1200" dirty="0"/>
              <a:t>-Play, </a:t>
            </a:r>
            <a:r>
              <a:rPr lang="de-DE" sz="1200" dirty="0" err="1"/>
              <a:t>market</a:t>
            </a:r>
            <a:r>
              <a:rPr lang="de-DE" sz="1200" dirty="0"/>
              <a:t> </a:t>
            </a:r>
            <a:r>
              <a:rPr lang="de-DE" sz="1200" dirty="0" err="1"/>
              <a:t>positioning</a:t>
            </a:r>
            <a:r>
              <a:rPr lang="de-DE" sz="1200" dirty="0"/>
              <a:t> and </a:t>
            </a:r>
            <a:r>
              <a:rPr lang="de-DE" sz="1200" dirty="0" err="1"/>
              <a:t>competitive</a:t>
            </a:r>
            <a:r>
              <a:rPr lang="de-DE" sz="1200" dirty="0"/>
              <a:t> </a:t>
            </a:r>
            <a:r>
              <a:rPr lang="de-DE" sz="1200" dirty="0" err="1"/>
              <a:t>landscape</a:t>
            </a:r>
            <a:endParaRPr lang="en-US" sz="1200" b="0" i="0" u="none" strike="noStrike" kern="1200" baseline="0" dirty="0">
              <a:solidFill>
                <a:srgbClr val="1E1E1E"/>
              </a:solidFill>
              <a:latin typeface="Arial" panose="020B0604020202020204" pitchFamily="34" charset="0"/>
            </a:endParaRPr>
          </a:p>
          <a:p>
            <a:pPr>
              <a:buClr>
                <a:schemeClr val="tx2"/>
              </a:buClr>
            </a:pPr>
            <a:r>
              <a:rPr lang="de-DE" sz="1200" dirty="0" err="1"/>
              <a:t>Cost</a:t>
            </a:r>
            <a:r>
              <a:rPr lang="de-DE" sz="1200" dirty="0"/>
              <a:t> Transformation (Revenue </a:t>
            </a:r>
            <a:r>
              <a:rPr lang="de-DE" sz="1200" dirty="0" err="1"/>
              <a:t>Leakage</a:t>
            </a:r>
            <a:r>
              <a:rPr lang="de-DE" sz="1200" dirty="0"/>
              <a:t> &amp; Pricing </a:t>
            </a:r>
            <a:r>
              <a:rPr lang="de-DE" sz="1200" dirty="0" err="1"/>
              <a:t>workstream</a:t>
            </a:r>
            <a:r>
              <a:rPr lang="de-DE" sz="1200" dirty="0"/>
              <a:t>) </a:t>
            </a:r>
            <a:r>
              <a:rPr lang="de-DE" sz="1200" dirty="0" err="1"/>
              <a:t>for</a:t>
            </a:r>
            <a:r>
              <a:rPr lang="de-DE" sz="1200" dirty="0"/>
              <a:t> a </a:t>
            </a:r>
            <a:r>
              <a:rPr lang="de-DE" sz="1200" dirty="0" err="1"/>
              <a:t>leading</a:t>
            </a:r>
            <a:r>
              <a:rPr lang="de-DE" sz="1200" dirty="0"/>
              <a:t> US </a:t>
            </a:r>
            <a:r>
              <a:rPr lang="de-DE" sz="1200" dirty="0" err="1"/>
              <a:t>broadcasting</a:t>
            </a:r>
            <a:r>
              <a:rPr lang="de-DE" sz="1200" dirty="0"/>
              <a:t> </a:t>
            </a:r>
            <a:r>
              <a:rPr lang="de-DE" sz="1200" dirty="0" err="1"/>
              <a:t>company</a:t>
            </a:r>
            <a:endParaRPr lang="de-DE" sz="1200" dirty="0"/>
          </a:p>
          <a:p>
            <a:pPr lvl="1">
              <a:buClr>
                <a:schemeClr val="tx2"/>
              </a:buClr>
            </a:pPr>
            <a:r>
              <a:rPr lang="de-DE" sz="1200" dirty="0" err="1"/>
              <a:t>Built</a:t>
            </a:r>
            <a:r>
              <a:rPr lang="de-DE" sz="1200" dirty="0"/>
              <a:t> pricing </a:t>
            </a:r>
            <a:r>
              <a:rPr lang="de-DE" sz="1200" dirty="0" err="1"/>
              <a:t>model</a:t>
            </a:r>
            <a:r>
              <a:rPr lang="de-DE" sz="1200" dirty="0"/>
              <a:t> and </a:t>
            </a:r>
            <a:r>
              <a:rPr lang="de-DE" sz="1200" dirty="0" err="1"/>
              <a:t>identified</a:t>
            </a:r>
            <a:r>
              <a:rPr lang="de-DE" sz="1200" dirty="0"/>
              <a:t> $20m </a:t>
            </a:r>
            <a:r>
              <a:rPr lang="de-DE" sz="1200" dirty="0" err="1"/>
              <a:t>worth</a:t>
            </a:r>
            <a:r>
              <a:rPr lang="de-DE" sz="1200" dirty="0"/>
              <a:t> </a:t>
            </a:r>
            <a:r>
              <a:rPr lang="de-DE" sz="1200" dirty="0" err="1"/>
              <a:t>of</a:t>
            </a:r>
            <a:r>
              <a:rPr lang="de-DE" sz="1200" dirty="0"/>
              <a:t> EBITDA and FCF potential </a:t>
            </a:r>
            <a:r>
              <a:rPr lang="de-DE" sz="1200" dirty="0" err="1"/>
              <a:t>through</a:t>
            </a:r>
            <a:r>
              <a:rPr lang="de-DE" sz="1200" dirty="0"/>
              <a:t> </a:t>
            </a:r>
            <a:r>
              <a:rPr lang="de-DE" sz="1200" dirty="0" err="1"/>
              <a:t>various</a:t>
            </a:r>
            <a:r>
              <a:rPr lang="de-DE" sz="1200" dirty="0"/>
              <a:t> </a:t>
            </a:r>
            <a:r>
              <a:rPr lang="de-DE" sz="1200" dirty="0" err="1"/>
              <a:t>contractual</a:t>
            </a:r>
            <a:r>
              <a:rPr lang="de-DE" sz="1200" dirty="0"/>
              <a:t> and pricing initiatives</a:t>
            </a:r>
          </a:p>
          <a:p>
            <a:pPr>
              <a:buClr>
                <a:schemeClr val="tx2"/>
              </a:buClr>
            </a:pPr>
            <a:r>
              <a:rPr lang="de-DE" sz="1200" dirty="0"/>
              <a:t>Led </a:t>
            </a:r>
            <a:r>
              <a:rPr lang="de-DE" sz="1200" dirty="0" err="1"/>
              <a:t>two</a:t>
            </a:r>
            <a:r>
              <a:rPr lang="de-DE" sz="1200" dirty="0"/>
              <a:t> </a:t>
            </a:r>
            <a:r>
              <a:rPr lang="de-DE" sz="1200" dirty="0" err="1"/>
              <a:t>country</a:t>
            </a:r>
            <a:r>
              <a:rPr lang="de-DE" sz="1200" dirty="0"/>
              <a:t> </a:t>
            </a:r>
            <a:r>
              <a:rPr lang="de-DE" sz="1200" dirty="0" err="1"/>
              <a:t>workstreams</a:t>
            </a:r>
            <a:r>
              <a:rPr lang="de-DE" sz="1200" dirty="0"/>
              <a:t> </a:t>
            </a:r>
            <a:r>
              <a:rPr lang="de-DE" sz="1200" dirty="0" err="1"/>
              <a:t>during</a:t>
            </a:r>
            <a:r>
              <a:rPr lang="de-DE" sz="1200" dirty="0"/>
              <a:t> a global </a:t>
            </a:r>
            <a:r>
              <a:rPr lang="de-DE" sz="1200" dirty="0" err="1"/>
              <a:t>market</a:t>
            </a:r>
            <a:r>
              <a:rPr lang="de-DE" sz="1200" dirty="0"/>
              <a:t> </a:t>
            </a:r>
            <a:r>
              <a:rPr lang="de-DE" sz="1200" dirty="0" err="1"/>
              <a:t>intelligence</a:t>
            </a:r>
            <a:r>
              <a:rPr lang="de-DE" sz="1200" dirty="0"/>
              <a:t> </a:t>
            </a:r>
            <a:r>
              <a:rPr lang="de-DE" sz="1200" dirty="0" err="1"/>
              <a:t>study</a:t>
            </a:r>
            <a:r>
              <a:rPr lang="de-DE" sz="1200" dirty="0"/>
              <a:t> </a:t>
            </a:r>
            <a:r>
              <a:rPr lang="de-DE" sz="1200" dirty="0" err="1"/>
              <a:t>for</a:t>
            </a:r>
            <a:r>
              <a:rPr lang="de-DE" sz="1200" dirty="0"/>
              <a:t> a </a:t>
            </a:r>
            <a:r>
              <a:rPr lang="de-DE" sz="1200" dirty="0" err="1"/>
              <a:t>major</a:t>
            </a:r>
            <a:r>
              <a:rPr lang="de-DE" sz="1200" dirty="0"/>
              <a:t> CEP </a:t>
            </a:r>
            <a:r>
              <a:rPr lang="de-DE" sz="1200" dirty="0" err="1"/>
              <a:t>market</a:t>
            </a:r>
            <a:r>
              <a:rPr lang="de-DE" sz="1200" dirty="0"/>
              <a:t> </a:t>
            </a:r>
            <a:r>
              <a:rPr lang="de-DE" sz="1200" dirty="0" err="1"/>
              <a:t>player</a:t>
            </a:r>
            <a:endParaRPr lang="de-DE" sz="1200" dirty="0"/>
          </a:p>
          <a:p>
            <a:pPr lvl="1">
              <a:buClr>
                <a:schemeClr val="tx2"/>
              </a:buClr>
            </a:pPr>
            <a:r>
              <a:rPr lang="de-DE" sz="1200" dirty="0" err="1"/>
              <a:t>Built</a:t>
            </a:r>
            <a:r>
              <a:rPr lang="de-DE" sz="1200" dirty="0"/>
              <a:t> </a:t>
            </a:r>
            <a:r>
              <a:rPr lang="de-DE" sz="1200" dirty="0" err="1"/>
              <a:t>two</a:t>
            </a:r>
            <a:r>
              <a:rPr lang="de-DE" sz="1200" dirty="0"/>
              <a:t> </a:t>
            </a:r>
            <a:r>
              <a:rPr lang="de-DE" sz="1200" dirty="0" err="1"/>
              <a:t>market</a:t>
            </a:r>
            <a:r>
              <a:rPr lang="de-DE" sz="1200" dirty="0"/>
              <a:t> </a:t>
            </a:r>
            <a:r>
              <a:rPr lang="de-DE" sz="1200" dirty="0" err="1"/>
              <a:t>models</a:t>
            </a:r>
            <a:r>
              <a:rPr lang="de-DE" sz="1200" dirty="0"/>
              <a:t> and </a:t>
            </a:r>
            <a:r>
              <a:rPr lang="de-DE" sz="1200" dirty="0" err="1"/>
              <a:t>interviewed</a:t>
            </a:r>
            <a:r>
              <a:rPr lang="de-DE" sz="1200" dirty="0"/>
              <a:t> 60+ </a:t>
            </a:r>
            <a:r>
              <a:rPr lang="de-DE" sz="1200" dirty="0" err="1"/>
              <a:t>market</a:t>
            </a:r>
            <a:r>
              <a:rPr lang="de-DE" sz="1200" dirty="0"/>
              <a:t> </a:t>
            </a:r>
            <a:r>
              <a:rPr lang="de-DE" sz="1200" dirty="0" err="1"/>
              <a:t>experts</a:t>
            </a:r>
            <a:endParaRPr lang="de-DE" sz="1200" dirty="0"/>
          </a:p>
          <a:p>
            <a:pPr>
              <a:buClr>
                <a:schemeClr val="tx2"/>
              </a:buClr>
            </a:pPr>
            <a:r>
              <a:rPr lang="de-DE" sz="1200" dirty="0"/>
              <a:t>Net Working Capital </a:t>
            </a:r>
            <a:r>
              <a:rPr lang="de-DE" sz="1200" dirty="0" err="1"/>
              <a:t>optimization</a:t>
            </a:r>
            <a:r>
              <a:rPr lang="de-DE" sz="1200" dirty="0"/>
              <a:t> and </a:t>
            </a:r>
            <a:r>
              <a:rPr lang="de-DE" sz="1200" dirty="0" err="1"/>
              <a:t>financial</a:t>
            </a:r>
            <a:r>
              <a:rPr lang="de-DE" sz="1200" dirty="0"/>
              <a:t> </a:t>
            </a:r>
            <a:r>
              <a:rPr lang="de-DE" sz="1200" dirty="0" err="1"/>
              <a:t>planning</a:t>
            </a:r>
            <a:r>
              <a:rPr lang="de-DE" sz="1200" dirty="0"/>
              <a:t> </a:t>
            </a:r>
            <a:r>
              <a:rPr lang="de-DE" sz="1200" dirty="0" err="1"/>
              <a:t>for</a:t>
            </a:r>
            <a:r>
              <a:rPr lang="de-DE" sz="1200" dirty="0"/>
              <a:t> a German </a:t>
            </a:r>
            <a:r>
              <a:rPr lang="de-DE" sz="1200" dirty="0" err="1"/>
              <a:t>automotive</a:t>
            </a:r>
            <a:r>
              <a:rPr lang="de-DE" sz="1200" dirty="0"/>
              <a:t> supplier</a:t>
            </a:r>
          </a:p>
          <a:p>
            <a:pPr>
              <a:buClr>
                <a:schemeClr val="tx2"/>
              </a:buClr>
            </a:pPr>
            <a:r>
              <a:rPr lang="en-US" sz="1200" dirty="0"/>
              <a:t>Global Cost Benchmarking (GCB) for Telco clients on 4 continents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GB" b="1" dirty="0">
              <a:solidFill>
                <a:srgbClr val="7823DC"/>
              </a:solidFill>
            </a:endParaRPr>
          </a:p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11" name="Text Placeholder 4" descr="EducationHeader" title="EducationHeader">
            <a:extLst>
              <a:ext uri="{FF2B5EF4-FFF2-40B4-BE49-F238E27FC236}">
                <a16:creationId xmlns:a16="http://schemas.microsoft.com/office/drawing/2014/main" id="{A947A4D1-2188-4B3B-B549-9B5B5A91D3AF}"/>
              </a:ext>
            </a:extLst>
          </p:cNvPr>
          <p:cNvSpPr txBox="1">
            <a:spLocks/>
          </p:cNvSpPr>
          <p:nvPr/>
        </p:nvSpPr>
        <p:spPr>
          <a:xfrm>
            <a:off x="3431959" y="5465479"/>
            <a:ext cx="2286001" cy="193899"/>
          </a:xfrm>
          <a:prstGeom prst="rect">
            <a:avLst/>
          </a:prstGeom>
        </p:spPr>
        <p:txBody>
          <a:bodyPr vert="horz" wrap="square" lIns="0" tIns="0" rIns="0" bIns="0" rtlCol="0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lang="en-US" sz="1400" b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System Font Regular"/>
              <a:buNone/>
              <a:tabLst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System Font Regular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System Font Regular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System Font Regular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cs typeface="Arial"/>
              </a:rPr>
              <a:t>Languages</a:t>
            </a:r>
          </a:p>
        </p:txBody>
      </p:sp>
      <p:sp>
        <p:nvSpPr>
          <p:cNvPr id="12" name="Content Placeholder 6" descr="Education" title="Education">
            <a:extLst>
              <a:ext uri="{FF2B5EF4-FFF2-40B4-BE49-F238E27FC236}">
                <a16:creationId xmlns:a16="http://schemas.microsoft.com/office/drawing/2014/main" id="{B27D1F40-4C8D-47E2-B228-F1D8CF5C817B}"/>
              </a:ext>
            </a:extLst>
          </p:cNvPr>
          <p:cNvSpPr txBox="1">
            <a:spLocks/>
          </p:cNvSpPr>
          <p:nvPr/>
        </p:nvSpPr>
        <p:spPr>
          <a:xfrm>
            <a:off x="3431704" y="5728842"/>
            <a:ext cx="2281475" cy="65248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lang="en-US" sz="14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71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7823DC"/>
              </a:buClr>
              <a:buSzTx/>
              <a:buFont typeface="Arial" panose="020B0604020202020204" pitchFamily="34" charset="0"/>
              <a:buChar char="–"/>
              <a:tabLst/>
              <a:defRPr/>
            </a:pPr>
            <a:r>
              <a:rPr lang="de-DE" sz="1200" dirty="0">
                <a:solidFill>
                  <a:srgbClr val="1E1E1E"/>
                </a:solidFill>
                <a:latin typeface="Arial"/>
                <a:cs typeface="Arial"/>
              </a:rPr>
              <a:t>German (C2)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7823DC"/>
              </a:buClr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cs typeface="Arial"/>
              </a:rPr>
              <a:t>English (C2)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7823DC"/>
              </a:buClr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cs typeface="Arial"/>
              </a:rPr>
              <a:t>Italian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/>
                <a:cs typeface="Arial"/>
              </a:rPr>
              <a:t> (C1)</a:t>
            </a:r>
          </a:p>
        </p:txBody>
      </p:sp>
    </p:spTree>
    <p:extLst>
      <p:ext uri="{BB962C8B-B14F-4D97-AF65-F5344CB8AC3E}">
        <p14:creationId xmlns:p14="http://schemas.microsoft.com/office/powerpoint/2010/main" val="8202563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E9689B3-CCC0-4337-9905-3182A044C1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9110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0" imgH="409" progId="TCLayout.ActiveDocument.1">
                  <p:embed/>
                </p:oleObj>
              </mc:Choice>
              <mc:Fallback>
                <p:oleObj name="think-cell Slide" r:id="rId5" imgW="410" imgH="40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E9689B3-CCC0-4337-9905-3182A044C1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423B53F-A8A6-46C4-8D9A-19C5F875A8F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Grid2">
            <a:extLst>
              <a:ext uri="{FF2B5EF4-FFF2-40B4-BE49-F238E27FC236}">
                <a16:creationId xmlns:a16="http://schemas.microsoft.com/office/drawing/2014/main" id="{42B8DE4F-B6CB-4143-8C6C-96C868FE7B89}"/>
              </a:ext>
            </a:extLst>
          </p:cNvPr>
          <p:cNvSpPr/>
          <p:nvPr/>
        </p:nvSpPr>
        <p:spPr>
          <a:xfrm>
            <a:off x="5334000" y="2286000"/>
            <a:ext cx="2286000" cy="457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600" tIns="381600" rIns="381600" bIns="3816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B043538-B1F3-40A7-82FC-1DF5677A32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hort CV</a:t>
            </a:r>
            <a:endParaRPr lang="en-US" baseline="3000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5D8B13-C9F8-4571-827F-B087A5AA6EDA}"/>
              </a:ext>
            </a:extLst>
          </p:cNvPr>
          <p:cNvSpPr/>
          <p:nvPr/>
        </p:nvSpPr>
        <p:spPr>
          <a:xfrm>
            <a:off x="3323692" y="6309320"/>
            <a:ext cx="8378825" cy="381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. Subject to availability at project start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ABA073FF-1980-43EC-978D-BADB306C720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5162" t="7873" r="7372" b="14659"/>
          <a:stretch/>
        </p:blipFill>
        <p:spPr>
          <a:xfrm>
            <a:off x="3048000" y="0"/>
            <a:ext cx="2286000" cy="2286001"/>
          </a:xfrm>
          <a:prstGeom prst="rect">
            <a:avLst/>
          </a:prstGeom>
          <a:noFill/>
        </p:spPr>
      </p:pic>
      <p:sp>
        <p:nvSpPr>
          <p:cNvPr id="16" name="Grid4">
            <a:extLst>
              <a:ext uri="{FF2B5EF4-FFF2-40B4-BE49-F238E27FC236}">
                <a16:creationId xmlns:a16="http://schemas.microsoft.com/office/drawing/2014/main" id="{830F2540-7861-4E7D-B32D-DAD30BEC9046}"/>
              </a:ext>
            </a:extLst>
          </p:cNvPr>
          <p:cNvSpPr/>
          <p:nvPr/>
        </p:nvSpPr>
        <p:spPr>
          <a:xfrm>
            <a:off x="9906000" y="2286000"/>
            <a:ext cx="2286000" cy="457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600" tIns="381600" rIns="381600" bIns="3816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7591FAE1-1409-1C44-8742-AB61D502A9B4}"/>
              </a:ext>
            </a:extLst>
          </p:cNvPr>
          <p:cNvSpPr txBox="1">
            <a:spLocks/>
          </p:cNvSpPr>
          <p:nvPr/>
        </p:nvSpPr>
        <p:spPr>
          <a:xfrm>
            <a:off x="3048000" y="2410221"/>
            <a:ext cx="2289360" cy="3048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7823D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njamin Reinitzer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7823D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7823D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lang="en-US" dirty="0">
                <a:solidFill>
                  <a:srgbClr val="1E1E1E"/>
                </a:solidFill>
                <a:latin typeface="Arial" panose="020B0604020202020204"/>
              </a:rPr>
              <a:t>S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io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onsultant, Munich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Summary of experience</a:t>
            </a:r>
          </a:p>
          <a:p>
            <a:pPr marL="127000" marR="0" lvl="0" indent="-127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nsformations and restructuring, Financial Modelling; Strategy</a:t>
            </a:r>
          </a:p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1E1E1E"/>
              </a:buClr>
              <a:buSzTx/>
              <a:buFont typeface="System Font Regular"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lected engagements</a:t>
            </a:r>
          </a:p>
          <a:p>
            <a:pPr marL="127000" marR="0" lvl="0" indent="-127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nsformation of leading European food manufacturer: Built transformation business case and established financial steering of initiatives</a:t>
            </a:r>
          </a:p>
          <a:p>
            <a:pPr marL="127000" marR="0" lvl="0" indent="-127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S media conglomerate restructuring: Revenue Leakage and Pricing optimization</a:t>
            </a:r>
          </a:p>
          <a:p>
            <a:pPr marL="127000" marR="0" lvl="0" indent="-127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2E-Process Optimization for transformation of leading European ICT-player</a:t>
            </a:r>
          </a:p>
          <a:p>
            <a:pPr marL="127000" marR="0" lvl="0" indent="-127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I-strategy for major European Telco incumbent. Quantified AI-savings potential </a:t>
            </a:r>
          </a:p>
          <a:p>
            <a:pPr marL="127000" marR="0" lvl="0" indent="-127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rategic market entry evaluation for a leading European Telco</a:t>
            </a:r>
          </a:p>
          <a:p>
            <a:pPr marL="127000" marR="0" lvl="0" indent="-127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lobal Cost Benchmarking (GCB) for Telco clients on 4 continents</a:t>
            </a:r>
          </a:p>
          <a:p>
            <a:pPr marL="180000" marR="0" lvl="1" indent="-180000" algn="l" defTabSz="914400" rtl="0" eaLnBrk="0" fontAlgn="auto" latinLnBrk="0" hangingPunct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000000"/>
              </a:buClr>
              <a:buSzPct val="100000"/>
              <a:buFont typeface="System Font Regular"/>
              <a:buChar char="–"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51440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OS" val="Unix 3.10 unknown"/>
  <p:tag name="AS_RELEASE_DATE" val="2018.10.31"/>
  <p:tag name="AS_TITLE" val="Aspose.Slides for Java"/>
  <p:tag name="AS_VERSION" val="18.1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ZRxNLtusT3d_5u10wpc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z69hUGrI5V_yPeIjb_d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WBgK6LYD.Y4OBtMLioD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.IeHHJdEUf.mT3ZX0B3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gzYdhJpvZdHZ48M9CuP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ZRxNLtusT3d_5u10wpc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ZRxNLtusT3d_5u10wpc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hiXmftu3DM_.2q3_TNf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z69hUGrI5V_yPeIjb_d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WBgK6LYD.Y4OBtMLioD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.IeHHJdEUf.mT3ZX0B3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gzYdhJpvZdHZ48M9CuP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b2ylmpwweWKpGv7ZVcN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1KVhTsAF_7bJqASvxnk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qbs7O_k2YpUcbR2uIYm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zC14WX7UZAy0zGsryVW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T.QOgyeJNf.h0YE66H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ZRxNLtusT3d_5u10wpc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SfScSHtTjwqjGX7KvCM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6zS2m.QCKgLFVYFBvzz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og_yLijpobfDq4.jqMl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ZRxNLtusT3d_5u10wpcA"/>
</p:tagLst>
</file>

<file path=ppt/theme/theme1.xml><?xml version="1.0" encoding="utf-8"?>
<a:theme xmlns:a="http://schemas.openxmlformats.org/drawingml/2006/main" name="Kearney Report Template">
  <a:themeElements>
    <a:clrScheme name="Kearney">
      <a:dk1>
        <a:srgbClr val="1E1E1E"/>
      </a:dk1>
      <a:lt1>
        <a:srgbClr val="FFFFFF"/>
      </a:lt1>
      <a:dk2>
        <a:srgbClr val="7823DC"/>
      </a:dk2>
      <a:lt2>
        <a:srgbClr val="F5F5F5"/>
      </a:lt2>
      <a:accent1>
        <a:srgbClr val="D2D2D2"/>
      </a:accent1>
      <a:accent2>
        <a:srgbClr val="A5A5A5"/>
      </a:accent2>
      <a:accent3>
        <a:srgbClr val="787878"/>
      </a:accent3>
      <a:accent4>
        <a:srgbClr val="E6D2FA"/>
      </a:accent4>
      <a:accent5>
        <a:srgbClr val="C8A5F0"/>
      </a:accent5>
      <a:accent6>
        <a:srgbClr val="AF7DEB"/>
      </a:accent6>
      <a:hlink>
        <a:srgbClr val="1D1D1D"/>
      </a:hlink>
      <a:folHlink>
        <a:srgbClr val="1D1D1D"/>
      </a:folHlink>
    </a:clrScheme>
    <a:fontScheme name="Arial">
      <a:majorFont>
        <a:latin typeface="Arial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9" tIns="72009" rIns="72009" bIns="72009" rtlCol="0" anchor="t"/>
      <a:lstStyle>
        <a:defPPr algn="l">
          <a:lnSpc>
            <a:spcPct val="90000"/>
          </a:lnSpc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2DAA5112-A2C4-4736-91EF-87B5825AFCA9}" vid="{00FB9BF7-1FAE-4872-971C-73387801D532}"/>
    </a:ext>
  </a:extLst>
</a:theme>
</file>

<file path=ppt/theme/theme2.xml><?xml version="1.0" encoding="utf-8"?>
<a:theme xmlns:a="http://schemas.openxmlformats.org/drawingml/2006/main" name="1_Kearney Report Template">
  <a:themeElements>
    <a:clrScheme name="Kearney">
      <a:dk1>
        <a:srgbClr val="1E1E1E"/>
      </a:dk1>
      <a:lt1>
        <a:srgbClr val="FFFFFF"/>
      </a:lt1>
      <a:dk2>
        <a:srgbClr val="7823DC"/>
      </a:dk2>
      <a:lt2>
        <a:srgbClr val="F5F5F5"/>
      </a:lt2>
      <a:accent1>
        <a:srgbClr val="D2D2D2"/>
      </a:accent1>
      <a:accent2>
        <a:srgbClr val="A5A5A5"/>
      </a:accent2>
      <a:accent3>
        <a:srgbClr val="787878"/>
      </a:accent3>
      <a:accent4>
        <a:srgbClr val="E6D2FA"/>
      </a:accent4>
      <a:accent5>
        <a:srgbClr val="C8A5F0"/>
      </a:accent5>
      <a:accent6>
        <a:srgbClr val="AF7DEB"/>
      </a:accent6>
      <a:hlink>
        <a:srgbClr val="1D1D1D"/>
      </a:hlink>
      <a:folHlink>
        <a:srgbClr val="1D1D1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9" tIns="72009" rIns="72009" bIns="72009" rtlCol="0" anchor="t"/>
      <a:lstStyle>
        <a:defPPr algn="l">
          <a:lnSpc>
            <a:spcPct val="90000"/>
          </a:lnSpc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V Template_KEARNEY_2020 01.potx" id="{BE00DE90-02C2-41E5-A281-941B8871E58E}" vid="{2776DEDC-800A-4437-9BE5-21862517699A}"/>
    </a:ext>
  </a:extLst>
</a:theme>
</file>

<file path=ppt/theme/theme3.xml><?xml version="1.0" encoding="utf-8"?>
<a:theme xmlns:a="http://schemas.openxmlformats.org/drawingml/2006/main" name="3_Kearney Report Template">
  <a:themeElements>
    <a:clrScheme name="Kearney">
      <a:dk1>
        <a:srgbClr val="1E1E1E"/>
      </a:dk1>
      <a:lt1>
        <a:srgbClr val="FFFFFF"/>
      </a:lt1>
      <a:dk2>
        <a:srgbClr val="7823DC"/>
      </a:dk2>
      <a:lt2>
        <a:srgbClr val="F5F5F5"/>
      </a:lt2>
      <a:accent1>
        <a:srgbClr val="D2D2D2"/>
      </a:accent1>
      <a:accent2>
        <a:srgbClr val="A5A5A5"/>
      </a:accent2>
      <a:accent3>
        <a:srgbClr val="787878"/>
      </a:accent3>
      <a:accent4>
        <a:srgbClr val="E6D2FA"/>
      </a:accent4>
      <a:accent5>
        <a:srgbClr val="C8A5F0"/>
      </a:accent5>
      <a:accent6>
        <a:srgbClr val="AF7DEB"/>
      </a:accent6>
      <a:hlink>
        <a:srgbClr val="1D1D1D"/>
      </a:hlink>
      <a:folHlink>
        <a:srgbClr val="1D1D1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9" tIns="72009" rIns="72009" bIns="72009" rtlCol="0" anchor="t"/>
      <a:lstStyle>
        <a:defPPr algn="l">
          <a:lnSpc>
            <a:spcPct val="90000"/>
          </a:lnSpc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  -  Read-Only" id="{968BE386-8B8A-4E7E-BBC5-C3B02E213121}" vid="{BCDBD049-8858-48BE-A598-3394F31C7B31}"/>
    </a:ext>
  </a:extLst>
</a:theme>
</file>

<file path=ppt/theme/theme4.xml><?xml version="1.0" encoding="utf-8"?>
<a:theme xmlns:a="http://schemas.openxmlformats.org/drawingml/2006/main" name="2_Kearney Report Template">
  <a:themeElements>
    <a:clrScheme name="Kearney">
      <a:dk1>
        <a:srgbClr val="1E1E1E"/>
      </a:dk1>
      <a:lt1>
        <a:srgbClr val="FFFFFF"/>
      </a:lt1>
      <a:dk2>
        <a:srgbClr val="7823DC"/>
      </a:dk2>
      <a:lt2>
        <a:srgbClr val="F5F5F5"/>
      </a:lt2>
      <a:accent1>
        <a:srgbClr val="D2D2D2"/>
      </a:accent1>
      <a:accent2>
        <a:srgbClr val="A5A5A5"/>
      </a:accent2>
      <a:accent3>
        <a:srgbClr val="787878"/>
      </a:accent3>
      <a:accent4>
        <a:srgbClr val="E6D2FA"/>
      </a:accent4>
      <a:accent5>
        <a:srgbClr val="C8A5F0"/>
      </a:accent5>
      <a:accent6>
        <a:srgbClr val="AF7DEB"/>
      </a:accent6>
      <a:hlink>
        <a:srgbClr val="1D1D1D"/>
      </a:hlink>
      <a:folHlink>
        <a:srgbClr val="1D1D1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9" tIns="72009" rIns="72009" bIns="72009" rtlCol="0" anchor="t"/>
      <a:lstStyle>
        <a:defPPr algn="l">
          <a:lnSpc>
            <a:spcPct val="90000"/>
          </a:lnSpc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  -  Read-Only" id="{968BE386-8B8A-4E7E-BBC5-C3B02E213121}" vid="{BCDBD049-8858-48BE-A598-3394F31C7B31}"/>
    </a:ext>
  </a:extLst>
</a:theme>
</file>

<file path=ppt/theme/theme5.xml><?xml version="1.0" encoding="utf-8"?>
<a:theme xmlns:a="http://schemas.openxmlformats.org/drawingml/2006/main" name="4_Kearney Report Template">
  <a:themeElements>
    <a:clrScheme name="Kearney">
      <a:dk1>
        <a:srgbClr val="1E1E1E"/>
      </a:dk1>
      <a:lt1>
        <a:srgbClr val="FFFFFF"/>
      </a:lt1>
      <a:dk2>
        <a:srgbClr val="7823DC"/>
      </a:dk2>
      <a:lt2>
        <a:srgbClr val="F5F5F5"/>
      </a:lt2>
      <a:accent1>
        <a:srgbClr val="D2D2D2"/>
      </a:accent1>
      <a:accent2>
        <a:srgbClr val="A5A5A5"/>
      </a:accent2>
      <a:accent3>
        <a:srgbClr val="787878"/>
      </a:accent3>
      <a:accent4>
        <a:srgbClr val="E6D2FA"/>
      </a:accent4>
      <a:accent5>
        <a:srgbClr val="C8A5F0"/>
      </a:accent5>
      <a:accent6>
        <a:srgbClr val="AF7DEB"/>
      </a:accent6>
      <a:hlink>
        <a:srgbClr val="1D1D1D"/>
      </a:hlink>
      <a:folHlink>
        <a:srgbClr val="1D1D1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9" tIns="72009" rIns="72009" bIns="72009" rtlCol="0" anchor="t"/>
      <a:lstStyle>
        <a:defPPr algn="l">
          <a:lnSpc>
            <a:spcPct val="90000"/>
          </a:lnSpc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5F8B75AC-1C07-417F-8A8A-46BDC15223BB}" vid="{167BDE5C-9E62-40B5-8FE9-4A9CC5711406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28968308E80C940845BA5722427BF25" ma:contentTypeVersion="13" ma:contentTypeDescription="Create a new document." ma:contentTypeScope="" ma:versionID="d735809d0ffa1bac3316259812cd4503">
  <xsd:schema xmlns:xsd="http://www.w3.org/2001/XMLSchema" xmlns:xs="http://www.w3.org/2001/XMLSchema" xmlns:p="http://schemas.microsoft.com/office/2006/metadata/properties" xmlns:ns3="751c01e9-774b-498f-8f0a-ab4584103858" xmlns:ns4="e0c9e28c-353c-4232-ae96-972c64b23b6a" targetNamespace="http://schemas.microsoft.com/office/2006/metadata/properties" ma:root="true" ma:fieldsID="47bb2a5af76323a96874326d73754ef0" ns3:_="" ns4:_="">
    <xsd:import namespace="751c01e9-774b-498f-8f0a-ab4584103858"/>
    <xsd:import namespace="e0c9e28c-353c-4232-ae96-972c64b23b6a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AutoKeyPoints" minOccurs="0"/>
                <xsd:element ref="ns4:MediaServiceKeyPoints" minOccurs="0"/>
                <xsd:element ref="ns4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51c01e9-774b-498f-8f0a-ab4584103858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c9e28c-353c-4232-ae96-972c64b23b6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468BB4A-6645-4B0C-A460-EC39B5C3A0F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D21A74D-68F2-467F-94C4-839800D3D95D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8FF158D8-6A51-4228-BE7C-CBB8D7ACD4D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51c01e9-774b-498f-8f0a-ab4584103858"/>
    <ds:schemaRef ds:uri="e0c9e28c-353c-4232-ae96-972c64b23b6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V slide template</Template>
  <TotalTime>72</TotalTime>
  <Words>415</Words>
  <Application>Microsoft Office PowerPoint</Application>
  <PresentationFormat>Widescreen</PresentationFormat>
  <Paragraphs>51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2" baseType="lpstr">
      <vt:lpstr>Arial</vt:lpstr>
      <vt:lpstr>Calibri</vt:lpstr>
      <vt:lpstr>Sakkal Majalla</vt:lpstr>
      <vt:lpstr>System Font Regular</vt:lpstr>
      <vt:lpstr>Kearney Report Template</vt:lpstr>
      <vt:lpstr>1_Kearney Report Template</vt:lpstr>
      <vt:lpstr>3_Kearney Report Template</vt:lpstr>
      <vt:lpstr>2_Kearney Report Template</vt:lpstr>
      <vt:lpstr>4_Kearney Report Template</vt:lpstr>
      <vt:lpstr>think-cell Slide</vt:lpstr>
      <vt:lpstr>Benjamin Reinitzer Associate, Munich, Germany</vt:lpstr>
      <vt:lpstr>Short CV</vt:lpstr>
    </vt:vector>
  </TitlesOfParts>
  <Company>Kearne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rin Cullin</dc:creator>
  <cp:lastModifiedBy>Reinitzer, Benjamin</cp:lastModifiedBy>
  <cp:revision>356</cp:revision>
  <dcterms:created xsi:type="dcterms:W3CDTF">2020-01-22T17:24:31Z</dcterms:created>
  <dcterms:modified xsi:type="dcterms:W3CDTF">2025-02-04T16:19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28968308E80C940845BA5722427BF25</vt:lpwstr>
  </property>
  <property fmtid="{D5CDD505-2E9C-101B-9397-08002B2CF9AE}" pid="3" name="MSIP_Label_0e815a84-bb14-486b-9367-c1af54c95fa4_Enabled">
    <vt:lpwstr>true</vt:lpwstr>
  </property>
  <property fmtid="{D5CDD505-2E9C-101B-9397-08002B2CF9AE}" pid="4" name="MSIP_Label_0e815a84-bb14-486b-9367-c1af54c95fa4_SetDate">
    <vt:lpwstr>2023-03-05T22:46:48Z</vt:lpwstr>
  </property>
  <property fmtid="{D5CDD505-2E9C-101B-9397-08002B2CF9AE}" pid="5" name="MSIP_Label_0e815a84-bb14-486b-9367-c1af54c95fa4_Method">
    <vt:lpwstr>Standard</vt:lpwstr>
  </property>
  <property fmtid="{D5CDD505-2E9C-101B-9397-08002B2CF9AE}" pid="6" name="MSIP_Label_0e815a84-bb14-486b-9367-c1af54c95fa4_Name">
    <vt:lpwstr>Standard</vt:lpwstr>
  </property>
  <property fmtid="{D5CDD505-2E9C-101B-9397-08002B2CF9AE}" pid="7" name="MSIP_Label_0e815a84-bb14-486b-9367-c1af54c95fa4_SiteId">
    <vt:lpwstr>5dc645ed-297f-4dca-b0af-2339c71c5388</vt:lpwstr>
  </property>
  <property fmtid="{D5CDD505-2E9C-101B-9397-08002B2CF9AE}" pid="8" name="MSIP_Label_0e815a84-bb14-486b-9367-c1af54c95fa4_ActionId">
    <vt:lpwstr>72c481c7-5f1a-483c-87a3-0a0823b2cf32</vt:lpwstr>
  </property>
  <property fmtid="{D5CDD505-2E9C-101B-9397-08002B2CF9AE}" pid="9" name="MSIP_Label_0e815a84-bb14-486b-9367-c1af54c95fa4_ContentBits">
    <vt:lpwstr>0</vt:lpwstr>
  </property>
</Properties>
</file>